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26"/>
  </p:notesMasterIdLst>
  <p:sldIdLst>
    <p:sldId id="262" r:id="rId5"/>
    <p:sldId id="500" r:id="rId6"/>
    <p:sldId id="520" r:id="rId7"/>
    <p:sldId id="773" r:id="rId8"/>
    <p:sldId id="774" r:id="rId9"/>
    <p:sldId id="776" r:id="rId10"/>
    <p:sldId id="775" r:id="rId11"/>
    <p:sldId id="777" r:id="rId12"/>
    <p:sldId id="778" r:id="rId13"/>
    <p:sldId id="780" r:id="rId14"/>
    <p:sldId id="786" r:id="rId15"/>
    <p:sldId id="781" r:id="rId16"/>
    <p:sldId id="782" r:id="rId17"/>
    <p:sldId id="783" r:id="rId18"/>
    <p:sldId id="784" r:id="rId19"/>
    <p:sldId id="785" r:id="rId20"/>
    <p:sldId id="787" r:id="rId21"/>
    <p:sldId id="788" r:id="rId22"/>
    <p:sldId id="789" r:id="rId23"/>
    <p:sldId id="790" r:id="rId24"/>
    <p:sldId id="791" r:id="rId25"/>
  </p:sldIdLst>
  <p:sldSz cx="9144000" cy="6858000" type="screen4x3"/>
  <p:notesSz cx="6805613" cy="9939338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120C"/>
    <a:srgbClr val="3C1053"/>
    <a:srgbClr val="3D3935"/>
    <a:srgbClr val="8C85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736" autoAdjust="0"/>
    <p:restoredTop sz="94806"/>
  </p:normalViewPr>
  <p:slideViewPr>
    <p:cSldViewPr snapToGrid="0">
      <p:cViewPr varScale="1">
        <p:scale>
          <a:sx n="70" d="100"/>
          <a:sy n="70" d="100"/>
        </p:scale>
        <p:origin x="1677" y="65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69E031-7821-4947-9A91-EC03C15F7566}" type="datetimeFigureOut">
              <a:rPr lang="en-AU" smtClean="0"/>
              <a:t>11/10/2024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3013"/>
            <a:ext cx="4471987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98A5C1-1CB9-4F08-9AE0-90C38B1EBB91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525596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 userDrawn="1"/>
        </p:nvSpPr>
        <p:spPr>
          <a:xfrm>
            <a:off x="0" y="-3175"/>
            <a:ext cx="9142413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0" y="-3175"/>
            <a:ext cx="9144227" cy="6861175"/>
            <a:chOff x="5" y="-2"/>
            <a:chExt cx="5750" cy="43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5" y="0"/>
              <a:ext cx="57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Freeform 5"/>
            <p:cNvSpPr>
              <a:spLocks/>
            </p:cNvSpPr>
            <p:nvPr userDrawn="1"/>
          </p:nvSpPr>
          <p:spPr bwMode="auto">
            <a:xfrm>
              <a:off x="5" y="288"/>
              <a:ext cx="2875" cy="1871"/>
            </a:xfrm>
            <a:custGeom>
              <a:avLst/>
              <a:gdLst>
                <a:gd name="T0" fmla="*/ 2875 w 2875"/>
                <a:gd name="T1" fmla="*/ 0 h 1871"/>
                <a:gd name="T2" fmla="*/ 2875 w 2875"/>
                <a:gd name="T3" fmla="*/ 1871 h 1871"/>
                <a:gd name="T4" fmla="*/ 0 w 2875"/>
                <a:gd name="T5" fmla="*/ 1871 h 1871"/>
                <a:gd name="T6" fmla="*/ 0 w 2875"/>
                <a:gd name="T7" fmla="*/ 0 h 1871"/>
                <a:gd name="T8" fmla="*/ 2875 w 2875"/>
                <a:gd name="T9" fmla="*/ 0 h 1871"/>
                <a:gd name="T10" fmla="*/ 2875 w 2875"/>
                <a:gd name="T11" fmla="*/ 0 h 18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75" h="1871">
                  <a:moveTo>
                    <a:pt x="2875" y="0"/>
                  </a:moveTo>
                  <a:lnTo>
                    <a:pt x="2875" y="1871"/>
                  </a:lnTo>
                  <a:lnTo>
                    <a:pt x="0" y="1871"/>
                  </a:lnTo>
                  <a:lnTo>
                    <a:pt x="0" y="0"/>
                  </a:lnTo>
                  <a:lnTo>
                    <a:pt x="2875" y="0"/>
                  </a:lnTo>
                  <a:lnTo>
                    <a:pt x="2875" y="0"/>
                  </a:lnTo>
                  <a:close/>
                </a:path>
              </a:pathLst>
            </a:custGeom>
            <a:solidFill>
              <a:srgbClr val="3D39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2880" y="2159"/>
              <a:ext cx="2875" cy="2159"/>
            </a:xfrm>
            <a:custGeom>
              <a:avLst/>
              <a:gdLst>
                <a:gd name="T0" fmla="*/ 2875 w 2875"/>
                <a:gd name="T1" fmla="*/ 0 h 2159"/>
                <a:gd name="T2" fmla="*/ 2875 w 2875"/>
                <a:gd name="T3" fmla="*/ 1869 h 2159"/>
                <a:gd name="T4" fmla="*/ 290 w 2875"/>
                <a:gd name="T5" fmla="*/ 1869 h 2159"/>
                <a:gd name="T6" fmla="*/ 0 w 2875"/>
                <a:gd name="T7" fmla="*/ 2159 h 2159"/>
                <a:gd name="T8" fmla="*/ 0 w 2875"/>
                <a:gd name="T9" fmla="*/ 0 h 2159"/>
                <a:gd name="T10" fmla="*/ 2875 w 2875"/>
                <a:gd name="T11" fmla="*/ 0 h 2159"/>
                <a:gd name="T12" fmla="*/ 2875 w 2875"/>
                <a:gd name="T13" fmla="*/ 0 h 2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5" h="2159">
                  <a:moveTo>
                    <a:pt x="2875" y="0"/>
                  </a:moveTo>
                  <a:lnTo>
                    <a:pt x="2875" y="1869"/>
                  </a:lnTo>
                  <a:lnTo>
                    <a:pt x="290" y="1869"/>
                  </a:lnTo>
                  <a:lnTo>
                    <a:pt x="0" y="2159"/>
                  </a:lnTo>
                  <a:lnTo>
                    <a:pt x="0" y="0"/>
                  </a:lnTo>
                  <a:lnTo>
                    <a:pt x="2875" y="0"/>
                  </a:lnTo>
                  <a:lnTo>
                    <a:pt x="2875" y="0"/>
                  </a:ln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5" y="2159"/>
              <a:ext cx="2875" cy="2155"/>
            </a:xfrm>
            <a:custGeom>
              <a:avLst/>
              <a:gdLst>
                <a:gd name="T0" fmla="*/ 2875 w 2875"/>
                <a:gd name="T1" fmla="*/ 0 h 2155"/>
                <a:gd name="T2" fmla="*/ 2875 w 2875"/>
                <a:gd name="T3" fmla="*/ 2155 h 2155"/>
                <a:gd name="T4" fmla="*/ 0 w 2875"/>
                <a:gd name="T5" fmla="*/ 2155 h 2155"/>
                <a:gd name="T6" fmla="*/ 0 w 2875"/>
                <a:gd name="T7" fmla="*/ 0 h 2155"/>
                <a:gd name="T8" fmla="*/ 2875 w 2875"/>
                <a:gd name="T9" fmla="*/ 0 h 2155"/>
                <a:gd name="T10" fmla="*/ 2875 w 2875"/>
                <a:gd name="T11" fmla="*/ 0 h 2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75" h="2155">
                  <a:moveTo>
                    <a:pt x="2875" y="0"/>
                  </a:moveTo>
                  <a:lnTo>
                    <a:pt x="2875" y="2155"/>
                  </a:lnTo>
                  <a:lnTo>
                    <a:pt x="0" y="2155"/>
                  </a:lnTo>
                  <a:lnTo>
                    <a:pt x="0" y="0"/>
                  </a:lnTo>
                  <a:lnTo>
                    <a:pt x="2875" y="0"/>
                  </a:lnTo>
                  <a:lnTo>
                    <a:pt x="2875" y="0"/>
                  </a:lnTo>
                  <a:close/>
                </a:path>
              </a:pathLst>
            </a:custGeom>
            <a:solidFill>
              <a:srgbClr val="8C85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2880" y="-2"/>
              <a:ext cx="2875" cy="2161"/>
            </a:xfrm>
            <a:custGeom>
              <a:avLst/>
              <a:gdLst>
                <a:gd name="T0" fmla="*/ 2875 w 2875"/>
                <a:gd name="T1" fmla="*/ 0 h 2161"/>
                <a:gd name="T2" fmla="*/ 2875 w 2875"/>
                <a:gd name="T3" fmla="*/ 2161 h 2161"/>
                <a:gd name="T4" fmla="*/ 0 w 2875"/>
                <a:gd name="T5" fmla="*/ 2161 h 2161"/>
                <a:gd name="T6" fmla="*/ 0 w 2875"/>
                <a:gd name="T7" fmla="*/ 290 h 2161"/>
                <a:gd name="T8" fmla="*/ 290 w 2875"/>
                <a:gd name="T9" fmla="*/ 0 h 2161"/>
                <a:gd name="T10" fmla="*/ 2875 w 2875"/>
                <a:gd name="T11" fmla="*/ 0 h 2161"/>
                <a:gd name="T12" fmla="*/ 2875 w 2875"/>
                <a:gd name="T13" fmla="*/ 0 h 2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5" h="2161">
                  <a:moveTo>
                    <a:pt x="2875" y="0"/>
                  </a:moveTo>
                  <a:lnTo>
                    <a:pt x="2875" y="2161"/>
                  </a:lnTo>
                  <a:lnTo>
                    <a:pt x="0" y="2161"/>
                  </a:lnTo>
                  <a:lnTo>
                    <a:pt x="0" y="290"/>
                  </a:lnTo>
                  <a:lnTo>
                    <a:pt x="290" y="0"/>
                  </a:lnTo>
                  <a:lnTo>
                    <a:pt x="2875" y="0"/>
                  </a:lnTo>
                  <a:lnTo>
                    <a:pt x="287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03513" y="1366463"/>
            <a:ext cx="3770617" cy="1137024"/>
          </a:xfrm>
        </p:spPr>
        <p:txBody>
          <a:bodyPr anchor="b">
            <a:normAutofit/>
          </a:bodyPr>
          <a:lstStyle>
            <a:lvl1pPr algn="l">
              <a:defRPr sz="386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03513" y="2503487"/>
            <a:ext cx="3770617" cy="599309"/>
          </a:xfrm>
        </p:spPr>
        <p:txBody>
          <a:bodyPr anchor="b">
            <a:noAutofit/>
          </a:bodyPr>
          <a:lstStyle>
            <a:lvl1pPr marL="0" indent="0" algn="l">
              <a:buNone/>
              <a:defRPr sz="186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003800" y="3944938"/>
            <a:ext cx="3770313" cy="294882"/>
          </a:xfrm>
        </p:spPr>
        <p:txBody>
          <a:bodyPr>
            <a:normAutofit/>
          </a:bodyPr>
          <a:lstStyle>
            <a:lvl1pPr marL="0" indent="0">
              <a:buNone/>
              <a:defRPr sz="159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Presenter Nam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003800" y="4239820"/>
            <a:ext cx="3770313" cy="328773"/>
          </a:xfrm>
        </p:spPr>
        <p:txBody>
          <a:bodyPr>
            <a:normAutofit/>
          </a:bodyPr>
          <a:lstStyle>
            <a:lvl1pPr marL="0" indent="0">
              <a:buNone/>
              <a:defRPr sz="1597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Date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2"/>
          </p:nvPr>
        </p:nvSpPr>
        <p:spPr>
          <a:xfrm>
            <a:off x="0" y="469901"/>
            <a:ext cx="4565649" cy="2952750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rag picture to placeholder or click icon to add</a:t>
            </a:r>
            <a:endParaRPr lang="en-AU" dirty="0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3422650"/>
            <a:ext cx="4565649" cy="3435349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rag picture to placeholder or click icon to add</a:t>
            </a:r>
            <a:endParaRPr lang="en-AU" dirty="0"/>
          </a:p>
        </p:txBody>
      </p:sp>
      <p:pic>
        <p:nvPicPr>
          <p:cNvPr id="49" name="Picture 4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000" y="252000"/>
            <a:ext cx="1375200" cy="810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77748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with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/>
          <p:cNvSpPr>
            <a:spLocks noChangeAspect="1" noChangeArrowheads="1" noTextEdit="1"/>
          </p:cNvSpPr>
          <p:nvPr userDrawn="1"/>
        </p:nvSpPr>
        <p:spPr bwMode="auto">
          <a:xfrm>
            <a:off x="1588" y="0"/>
            <a:ext cx="91408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reeform 6"/>
          <p:cNvSpPr>
            <a:spLocks/>
          </p:cNvSpPr>
          <p:nvPr userDrawn="1"/>
        </p:nvSpPr>
        <p:spPr bwMode="auto">
          <a:xfrm>
            <a:off x="1588" y="-3175"/>
            <a:ext cx="5030788" cy="457200"/>
          </a:xfrm>
          <a:custGeom>
            <a:avLst/>
            <a:gdLst>
              <a:gd name="T0" fmla="*/ 0 w 3169"/>
              <a:gd name="T1" fmla="*/ 0 h 288"/>
              <a:gd name="T2" fmla="*/ 3169 w 3169"/>
              <a:gd name="T3" fmla="*/ 0 h 288"/>
              <a:gd name="T4" fmla="*/ 2879 w 3169"/>
              <a:gd name="T5" fmla="*/ 288 h 288"/>
              <a:gd name="T6" fmla="*/ 0 w 3169"/>
              <a:gd name="T7" fmla="*/ 288 h 288"/>
              <a:gd name="T8" fmla="*/ 0 w 3169"/>
              <a:gd name="T9" fmla="*/ 0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69" h="288">
                <a:moveTo>
                  <a:pt x="0" y="0"/>
                </a:moveTo>
                <a:lnTo>
                  <a:pt x="3169" y="0"/>
                </a:lnTo>
                <a:lnTo>
                  <a:pt x="2879" y="288"/>
                </a:lnTo>
                <a:lnTo>
                  <a:pt x="0" y="288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auto">
          <a:xfrm>
            <a:off x="4572001" y="6397625"/>
            <a:ext cx="4570413" cy="457200"/>
          </a:xfrm>
          <a:custGeom>
            <a:avLst/>
            <a:gdLst>
              <a:gd name="T0" fmla="*/ 2879 w 2879"/>
              <a:gd name="T1" fmla="*/ 288 h 288"/>
              <a:gd name="T2" fmla="*/ 0 w 2879"/>
              <a:gd name="T3" fmla="*/ 288 h 288"/>
              <a:gd name="T4" fmla="*/ 290 w 2879"/>
              <a:gd name="T5" fmla="*/ 0 h 288"/>
              <a:gd name="T6" fmla="*/ 2879 w 2879"/>
              <a:gd name="T7" fmla="*/ 0 h 288"/>
              <a:gd name="T8" fmla="*/ 2879 w 2879"/>
              <a:gd name="T9" fmla="*/ 288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79" h="288">
                <a:moveTo>
                  <a:pt x="2879" y="288"/>
                </a:moveTo>
                <a:lnTo>
                  <a:pt x="0" y="288"/>
                </a:lnTo>
                <a:lnTo>
                  <a:pt x="290" y="0"/>
                </a:lnTo>
                <a:lnTo>
                  <a:pt x="2879" y="0"/>
                </a:lnTo>
                <a:lnTo>
                  <a:pt x="2879" y="288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0" y="-3175"/>
            <a:ext cx="9142413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4" name="Title 1"/>
          <p:cNvSpPr>
            <a:spLocks noGrp="1"/>
          </p:cNvSpPr>
          <p:nvPr>
            <p:ph type="title" hasCustomPrompt="1"/>
          </p:nvPr>
        </p:nvSpPr>
        <p:spPr>
          <a:xfrm>
            <a:off x="440871" y="1014757"/>
            <a:ext cx="6733042" cy="538609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47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440871" y="1751357"/>
            <a:ext cx="8284029" cy="395441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ody</a:t>
            </a: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10794077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836023-9DC1-0848-98E4-41152BE775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E13A7D-F62D-5645-896A-F6D2148ED84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BAE153-106A-054D-8D30-6B13A2BC714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463110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co-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/>
          <p:cNvSpPr/>
          <p:nvPr userDrawn="1"/>
        </p:nvSpPr>
        <p:spPr>
          <a:xfrm>
            <a:off x="0" y="-3175"/>
            <a:ext cx="9142413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873125" y="2658154"/>
            <a:ext cx="3867150" cy="580346"/>
          </a:xfrm>
        </p:spPr>
        <p:txBody>
          <a:bodyPr anchor="b">
            <a:noAutofit/>
          </a:bodyPr>
          <a:lstStyle>
            <a:lvl1pPr>
              <a:defRPr sz="386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7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73125" y="3652838"/>
            <a:ext cx="3867150" cy="447675"/>
          </a:xfrm>
        </p:spPr>
        <p:txBody>
          <a:bodyPr anchor="b">
            <a:noAutofit/>
          </a:bodyPr>
          <a:lstStyle>
            <a:lvl1pPr marL="0" indent="0" algn="l">
              <a:buNone/>
              <a:defRPr sz="1863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</a:t>
            </a:r>
          </a:p>
        </p:txBody>
      </p:sp>
      <p:sp>
        <p:nvSpPr>
          <p:cNvPr id="8" name="Text Placeholder 7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73125" y="5316538"/>
            <a:ext cx="3770313" cy="294882"/>
          </a:xfrm>
        </p:spPr>
        <p:txBody>
          <a:bodyPr>
            <a:normAutofit/>
          </a:bodyPr>
          <a:lstStyle>
            <a:lvl1pPr marL="0" indent="0">
              <a:buNone/>
              <a:defRPr sz="1597" b="1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Presenter Name</a:t>
            </a:r>
          </a:p>
        </p:txBody>
      </p:sp>
      <p:sp>
        <p:nvSpPr>
          <p:cNvPr id="9" name="Text Placeholder 7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73125" y="5611420"/>
            <a:ext cx="3770313" cy="328773"/>
          </a:xfrm>
        </p:spPr>
        <p:txBody>
          <a:bodyPr>
            <a:normAutofit/>
          </a:bodyPr>
          <a:lstStyle>
            <a:lvl1pPr marL="0" indent="0">
              <a:buNone/>
              <a:defRPr sz="1597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Date</a:t>
            </a:r>
          </a:p>
        </p:txBody>
      </p:sp>
      <p:sp>
        <p:nvSpPr>
          <p:cNvPr id="44" name="Picture Placeholder 85"/>
          <p:cNvSpPr>
            <a:spLocks noGrp="1"/>
          </p:cNvSpPr>
          <p:nvPr userDrawn="1">
            <p:ph type="pic" sz="quarter" idx="13" hasCustomPrompt="1"/>
          </p:nvPr>
        </p:nvSpPr>
        <p:spPr>
          <a:xfrm>
            <a:off x="6639194" y="2653276"/>
            <a:ext cx="1766125" cy="502731"/>
          </a:xfrm>
        </p:spPr>
        <p:txBody>
          <a:bodyPr/>
          <a:lstStyle>
            <a:lvl1pPr marL="0" indent="0">
              <a:buNone/>
              <a:defRPr sz="12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rag co-branded logo to placeholder or click icon to add</a:t>
            </a:r>
            <a:endParaRPr lang="en-AU" dirty="0"/>
          </a:p>
        </p:txBody>
      </p:sp>
      <p:pic>
        <p:nvPicPr>
          <p:cNvPr id="43" name="Picture 4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000" y="5760000"/>
            <a:ext cx="1375200" cy="810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8784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/>
          <p:cNvSpPr/>
          <p:nvPr userDrawn="1"/>
        </p:nvSpPr>
        <p:spPr>
          <a:xfrm>
            <a:off x="0" y="-3175"/>
            <a:ext cx="9142413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5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227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Freeform 5"/>
          <p:cNvSpPr>
            <a:spLocks/>
          </p:cNvSpPr>
          <p:nvPr userDrawn="1"/>
        </p:nvSpPr>
        <p:spPr bwMode="auto">
          <a:xfrm>
            <a:off x="0" y="457200"/>
            <a:ext cx="4572114" cy="6388100"/>
          </a:xfrm>
          <a:custGeom>
            <a:avLst/>
            <a:gdLst>
              <a:gd name="T0" fmla="*/ 2875 w 2875"/>
              <a:gd name="T1" fmla="*/ 0 h 4024"/>
              <a:gd name="T2" fmla="*/ 2875 w 2875"/>
              <a:gd name="T3" fmla="*/ 4024 h 4024"/>
              <a:gd name="T4" fmla="*/ 0 w 2875"/>
              <a:gd name="T5" fmla="*/ 4024 h 4024"/>
              <a:gd name="T6" fmla="*/ 0 w 2875"/>
              <a:gd name="T7" fmla="*/ 0 h 4024"/>
              <a:gd name="T8" fmla="*/ 2875 w 2875"/>
              <a:gd name="T9" fmla="*/ 0 h 4024"/>
              <a:gd name="T10" fmla="*/ 2875 w 2875"/>
              <a:gd name="T11" fmla="*/ 0 h 40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875" h="4024">
                <a:moveTo>
                  <a:pt x="2875" y="0"/>
                </a:moveTo>
                <a:lnTo>
                  <a:pt x="2875" y="4024"/>
                </a:lnTo>
                <a:lnTo>
                  <a:pt x="0" y="4024"/>
                </a:lnTo>
                <a:lnTo>
                  <a:pt x="0" y="0"/>
                </a:lnTo>
                <a:lnTo>
                  <a:pt x="2875" y="0"/>
                </a:lnTo>
                <a:lnTo>
                  <a:pt x="2875" y="0"/>
                </a:lnTo>
                <a:close/>
              </a:path>
            </a:pathLst>
          </a:custGeom>
          <a:solidFill>
            <a:srgbClr val="8C857B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Freeform 6"/>
          <p:cNvSpPr>
            <a:spLocks/>
          </p:cNvSpPr>
          <p:nvPr userDrawn="1"/>
        </p:nvSpPr>
        <p:spPr bwMode="auto">
          <a:xfrm>
            <a:off x="4572114" y="-3175"/>
            <a:ext cx="4572114" cy="6858000"/>
          </a:xfrm>
          <a:custGeom>
            <a:avLst/>
            <a:gdLst>
              <a:gd name="T0" fmla="*/ 2875 w 2875"/>
              <a:gd name="T1" fmla="*/ 0 h 4320"/>
              <a:gd name="T2" fmla="*/ 2875 w 2875"/>
              <a:gd name="T3" fmla="*/ 4030 h 4320"/>
              <a:gd name="T4" fmla="*/ 290 w 2875"/>
              <a:gd name="T5" fmla="*/ 4030 h 4320"/>
              <a:gd name="T6" fmla="*/ 0 w 2875"/>
              <a:gd name="T7" fmla="*/ 4320 h 4320"/>
              <a:gd name="T8" fmla="*/ 0 w 2875"/>
              <a:gd name="T9" fmla="*/ 290 h 4320"/>
              <a:gd name="T10" fmla="*/ 290 w 2875"/>
              <a:gd name="T11" fmla="*/ 0 h 4320"/>
              <a:gd name="T12" fmla="*/ 2875 w 2875"/>
              <a:gd name="T13" fmla="*/ 0 h 4320"/>
              <a:gd name="T14" fmla="*/ 2875 w 2875"/>
              <a:gd name="T15" fmla="*/ 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75" h="4320">
                <a:moveTo>
                  <a:pt x="2875" y="0"/>
                </a:moveTo>
                <a:lnTo>
                  <a:pt x="2875" y="4030"/>
                </a:lnTo>
                <a:lnTo>
                  <a:pt x="290" y="4030"/>
                </a:lnTo>
                <a:lnTo>
                  <a:pt x="0" y="4320"/>
                </a:lnTo>
                <a:lnTo>
                  <a:pt x="0" y="290"/>
                </a:lnTo>
                <a:lnTo>
                  <a:pt x="290" y="0"/>
                </a:lnTo>
                <a:lnTo>
                  <a:pt x="2875" y="0"/>
                </a:lnTo>
                <a:lnTo>
                  <a:pt x="2875" y="0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038725" y="2848654"/>
            <a:ext cx="3867150" cy="580346"/>
          </a:xfrm>
        </p:spPr>
        <p:txBody>
          <a:bodyPr anchor="b">
            <a:noAutofit/>
          </a:bodyPr>
          <a:lstStyle>
            <a:lvl1pPr>
              <a:defRPr sz="386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82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038725" y="3652838"/>
            <a:ext cx="3867150" cy="447675"/>
          </a:xfrm>
        </p:spPr>
        <p:txBody>
          <a:bodyPr anchor="b">
            <a:noAutofit/>
          </a:bodyPr>
          <a:lstStyle>
            <a:lvl1pPr marL="0" indent="0" algn="l">
              <a:buNone/>
              <a:defRPr sz="186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</a:t>
            </a:r>
          </a:p>
        </p:txBody>
      </p:sp>
      <p:sp>
        <p:nvSpPr>
          <p:cNvPr id="83" name="Text Placeholder 7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038725" y="5316538"/>
            <a:ext cx="3770313" cy="294882"/>
          </a:xfrm>
        </p:spPr>
        <p:txBody>
          <a:bodyPr>
            <a:normAutofit/>
          </a:bodyPr>
          <a:lstStyle>
            <a:lvl1pPr marL="0" indent="0">
              <a:buNone/>
              <a:defRPr sz="159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Presenter Name</a:t>
            </a:r>
          </a:p>
        </p:txBody>
      </p:sp>
      <p:sp>
        <p:nvSpPr>
          <p:cNvPr id="84" name="Text Placeholder 7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038725" y="5611420"/>
            <a:ext cx="3770313" cy="328773"/>
          </a:xfrm>
        </p:spPr>
        <p:txBody>
          <a:bodyPr>
            <a:normAutofit/>
          </a:bodyPr>
          <a:lstStyle>
            <a:lvl1pPr marL="0" indent="0">
              <a:buNone/>
              <a:defRPr sz="1597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Date</a:t>
            </a:r>
          </a:p>
        </p:txBody>
      </p:sp>
      <p:sp>
        <p:nvSpPr>
          <p:cNvPr id="86" name="Picture Placeholder 85"/>
          <p:cNvSpPr>
            <a:spLocks noGrp="1"/>
          </p:cNvSpPr>
          <p:nvPr userDrawn="1">
            <p:ph type="pic" sz="quarter" idx="12"/>
          </p:nvPr>
        </p:nvSpPr>
        <p:spPr>
          <a:xfrm>
            <a:off x="0" y="457200"/>
            <a:ext cx="4572000" cy="63881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rag picture to placeholder or click icon to add</a:t>
            </a:r>
            <a:endParaRPr lang="en-AU" dirty="0"/>
          </a:p>
        </p:txBody>
      </p:sp>
      <p:pic>
        <p:nvPicPr>
          <p:cNvPr id="85" name="Picture 8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000" y="252000"/>
            <a:ext cx="1375200" cy="810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701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/>
          <p:cNvSpPr/>
          <p:nvPr userDrawn="1"/>
        </p:nvSpPr>
        <p:spPr>
          <a:xfrm>
            <a:off x="0" y="-3175"/>
            <a:ext cx="9142413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07327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6" name="Freeform 5"/>
          <p:cNvSpPr>
            <a:spLocks/>
          </p:cNvSpPr>
          <p:nvPr userDrawn="1"/>
        </p:nvSpPr>
        <p:spPr bwMode="auto">
          <a:xfrm>
            <a:off x="0" y="457201"/>
            <a:ext cx="4572232" cy="6388107"/>
          </a:xfrm>
          <a:custGeom>
            <a:avLst/>
            <a:gdLst>
              <a:gd name="T0" fmla="*/ 2875 w 2875"/>
              <a:gd name="T1" fmla="*/ 0 h 4024"/>
              <a:gd name="T2" fmla="*/ 2875 w 2875"/>
              <a:gd name="T3" fmla="*/ 4024 h 4024"/>
              <a:gd name="T4" fmla="*/ 0 w 2875"/>
              <a:gd name="T5" fmla="*/ 4024 h 4024"/>
              <a:gd name="T6" fmla="*/ 0 w 2875"/>
              <a:gd name="T7" fmla="*/ 0 h 4024"/>
              <a:gd name="T8" fmla="*/ 2875 w 2875"/>
              <a:gd name="T9" fmla="*/ 0 h 4024"/>
              <a:gd name="T10" fmla="*/ 2875 w 2875"/>
              <a:gd name="T11" fmla="*/ 0 h 40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875" h="4024">
                <a:moveTo>
                  <a:pt x="2875" y="0"/>
                </a:moveTo>
                <a:lnTo>
                  <a:pt x="2875" y="4024"/>
                </a:lnTo>
                <a:lnTo>
                  <a:pt x="0" y="4024"/>
                </a:lnTo>
                <a:lnTo>
                  <a:pt x="0" y="0"/>
                </a:lnTo>
                <a:lnTo>
                  <a:pt x="2875" y="0"/>
                </a:lnTo>
                <a:lnTo>
                  <a:pt x="2875" y="0"/>
                </a:lnTo>
                <a:close/>
              </a:path>
            </a:pathLst>
          </a:custGeom>
          <a:solidFill>
            <a:srgbClr val="F2120D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Freeform 6"/>
          <p:cNvSpPr>
            <a:spLocks/>
          </p:cNvSpPr>
          <p:nvPr userDrawn="1"/>
        </p:nvSpPr>
        <p:spPr bwMode="auto">
          <a:xfrm>
            <a:off x="4572232" y="-3174"/>
            <a:ext cx="4572232" cy="6858007"/>
          </a:xfrm>
          <a:custGeom>
            <a:avLst/>
            <a:gdLst>
              <a:gd name="T0" fmla="*/ 2875 w 2875"/>
              <a:gd name="T1" fmla="*/ 0 h 4320"/>
              <a:gd name="T2" fmla="*/ 2875 w 2875"/>
              <a:gd name="T3" fmla="*/ 4030 h 4320"/>
              <a:gd name="T4" fmla="*/ 290 w 2875"/>
              <a:gd name="T5" fmla="*/ 4030 h 4320"/>
              <a:gd name="T6" fmla="*/ 0 w 2875"/>
              <a:gd name="T7" fmla="*/ 4320 h 4320"/>
              <a:gd name="T8" fmla="*/ 0 w 2875"/>
              <a:gd name="T9" fmla="*/ 290 h 4320"/>
              <a:gd name="T10" fmla="*/ 290 w 2875"/>
              <a:gd name="T11" fmla="*/ 0 h 4320"/>
              <a:gd name="T12" fmla="*/ 2875 w 2875"/>
              <a:gd name="T13" fmla="*/ 0 h 4320"/>
              <a:gd name="T14" fmla="*/ 2875 w 2875"/>
              <a:gd name="T15" fmla="*/ 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75" h="4320">
                <a:moveTo>
                  <a:pt x="2875" y="0"/>
                </a:moveTo>
                <a:lnTo>
                  <a:pt x="2875" y="4030"/>
                </a:lnTo>
                <a:lnTo>
                  <a:pt x="290" y="4030"/>
                </a:lnTo>
                <a:lnTo>
                  <a:pt x="0" y="4320"/>
                </a:lnTo>
                <a:lnTo>
                  <a:pt x="0" y="290"/>
                </a:lnTo>
                <a:lnTo>
                  <a:pt x="290" y="0"/>
                </a:lnTo>
                <a:lnTo>
                  <a:pt x="2875" y="0"/>
                </a:lnTo>
                <a:lnTo>
                  <a:pt x="2875" y="0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1"/>
            <a:ext cx="9144464" cy="68580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804755" y="1054317"/>
            <a:ext cx="4247805" cy="4749367"/>
          </a:xfrm>
        </p:spPr>
        <p:txBody>
          <a:bodyPr lIns="0" tIns="0" rIns="0" bIns="0" anchor="ctr" anchorCtr="0">
            <a:noAutofit/>
          </a:bodyPr>
          <a:lstStyle>
            <a:lvl1pPr>
              <a:defRPr sz="37857" spc="-1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1</a:t>
            </a:r>
            <a:endParaRPr lang="en-AU" dirty="0"/>
          </a:p>
        </p:txBody>
      </p:sp>
      <p:sp>
        <p:nvSpPr>
          <p:cNvPr id="47" name="Text Placeholder 4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74420" y="3246827"/>
            <a:ext cx="3092450" cy="357995"/>
          </a:xfrm>
        </p:spPr>
        <p:txBody>
          <a:bodyPr>
            <a:normAutofit/>
          </a:bodyPr>
          <a:lstStyle>
            <a:lvl1pPr marL="0" indent="0">
              <a:buNone/>
              <a:defRPr sz="199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ec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000" y="252000"/>
            <a:ext cx="1375200" cy="810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1148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Object 4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71533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7" name="Object 4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40871" y="958872"/>
            <a:ext cx="6733042" cy="538609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50" name="Text Placeholder 49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0871" y="1666876"/>
            <a:ext cx="8284029" cy="406944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ody</a:t>
            </a:r>
          </a:p>
        </p:txBody>
      </p:sp>
      <p:sp>
        <p:nvSpPr>
          <p:cNvPr id="52" name="Text Placeholder 51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40871" y="-8733"/>
            <a:ext cx="4343399" cy="462758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ection heading</a:t>
            </a:r>
          </a:p>
        </p:txBody>
      </p:sp>
      <p:sp>
        <p:nvSpPr>
          <p:cNvPr id="8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  <p:sp>
        <p:nvSpPr>
          <p:cNvPr id="8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</p:spTree>
    <p:extLst>
      <p:ext uri="{BB962C8B-B14F-4D97-AF65-F5344CB8AC3E}">
        <p14:creationId xmlns:p14="http://schemas.microsoft.com/office/powerpoint/2010/main" val="27187926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le 1"/>
          <p:cNvSpPr>
            <a:spLocks noGrp="1"/>
          </p:cNvSpPr>
          <p:nvPr>
            <p:ph type="title" hasCustomPrompt="1"/>
          </p:nvPr>
        </p:nvSpPr>
        <p:spPr>
          <a:xfrm>
            <a:off x="440871" y="770735"/>
            <a:ext cx="6733042" cy="538609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42" name="Text Placeholder 45"/>
          <p:cNvSpPr>
            <a:spLocks noGrp="1"/>
          </p:cNvSpPr>
          <p:nvPr>
            <p:ph type="body" sz="quarter" idx="13" hasCustomPrompt="1"/>
          </p:nvPr>
        </p:nvSpPr>
        <p:spPr>
          <a:xfrm>
            <a:off x="440871" y="1339935"/>
            <a:ext cx="6734398" cy="507831"/>
          </a:xfr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buNone/>
              <a:defRPr sz="27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ub Title</a:t>
            </a:r>
          </a:p>
        </p:txBody>
      </p:sp>
      <p:sp>
        <p:nvSpPr>
          <p:cNvPr id="43" name="Text Placeholder 47"/>
          <p:cNvSpPr>
            <a:spLocks noGrp="1"/>
          </p:cNvSpPr>
          <p:nvPr>
            <p:ph type="body" sz="quarter" idx="14" hasCustomPrompt="1"/>
          </p:nvPr>
        </p:nvSpPr>
        <p:spPr>
          <a:xfrm>
            <a:off x="440872" y="2275570"/>
            <a:ext cx="8284028" cy="359681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None/>
              <a:defRPr sz="2000" b="1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ub heading</a:t>
            </a:r>
          </a:p>
        </p:txBody>
      </p:sp>
      <p:sp>
        <p:nvSpPr>
          <p:cNvPr id="83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440871" y="2640809"/>
            <a:ext cx="8284029" cy="309551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ody</a:t>
            </a:r>
          </a:p>
        </p:txBody>
      </p:sp>
      <p:sp>
        <p:nvSpPr>
          <p:cNvPr id="8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  <p:sp>
        <p:nvSpPr>
          <p:cNvPr id="8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320893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7701" y="1626054"/>
            <a:ext cx="3867150" cy="4271941"/>
          </a:xfrm>
        </p:spPr>
        <p:txBody>
          <a:bodyPr/>
          <a:lstStyle>
            <a:lvl1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1651000"/>
            <a:ext cx="3887788" cy="4246995"/>
          </a:xfrm>
        </p:spPr>
        <p:txBody>
          <a:bodyPr/>
          <a:lstStyle>
            <a:lvl1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7" name="Title 1"/>
          <p:cNvSpPr>
            <a:spLocks noGrp="1"/>
          </p:cNvSpPr>
          <p:nvPr>
            <p:ph type="title" hasCustomPrompt="1"/>
          </p:nvPr>
        </p:nvSpPr>
        <p:spPr>
          <a:xfrm>
            <a:off x="440871" y="793049"/>
            <a:ext cx="6734398" cy="493981"/>
          </a:xfrm>
        </p:spPr>
        <p:txBody>
          <a:bodyPr>
            <a:sp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8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  <p:sp>
        <p:nvSpPr>
          <p:cNvPr id="8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12895850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3888" y="1864188"/>
            <a:ext cx="7886700" cy="4070577"/>
          </a:xfrm>
        </p:spPr>
        <p:txBody>
          <a:bodyPr vert="eaVer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98929" y="1056579"/>
            <a:ext cx="6734398" cy="493981"/>
          </a:xfrm>
        </p:spPr>
        <p:txBody>
          <a:bodyPr>
            <a:norm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34063634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Whit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-3175"/>
            <a:ext cx="9142413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" name="AutoShape 3"/>
          <p:cNvSpPr>
            <a:spLocks noChangeAspect="1" noChangeArrowheads="1" noTextEdit="1"/>
          </p:cNvSpPr>
          <p:nvPr userDrawn="1"/>
        </p:nvSpPr>
        <p:spPr bwMode="auto">
          <a:xfrm>
            <a:off x="1588" y="0"/>
            <a:ext cx="91408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reeform 6"/>
          <p:cNvSpPr>
            <a:spLocks/>
          </p:cNvSpPr>
          <p:nvPr userDrawn="1"/>
        </p:nvSpPr>
        <p:spPr bwMode="auto">
          <a:xfrm>
            <a:off x="1588" y="-3175"/>
            <a:ext cx="5030788" cy="457200"/>
          </a:xfrm>
          <a:custGeom>
            <a:avLst/>
            <a:gdLst>
              <a:gd name="T0" fmla="*/ 0 w 3169"/>
              <a:gd name="T1" fmla="*/ 0 h 288"/>
              <a:gd name="T2" fmla="*/ 3169 w 3169"/>
              <a:gd name="T3" fmla="*/ 0 h 288"/>
              <a:gd name="T4" fmla="*/ 2879 w 3169"/>
              <a:gd name="T5" fmla="*/ 288 h 288"/>
              <a:gd name="T6" fmla="*/ 0 w 3169"/>
              <a:gd name="T7" fmla="*/ 288 h 288"/>
              <a:gd name="T8" fmla="*/ 0 w 3169"/>
              <a:gd name="T9" fmla="*/ 0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69" h="288">
                <a:moveTo>
                  <a:pt x="0" y="0"/>
                </a:moveTo>
                <a:lnTo>
                  <a:pt x="3169" y="0"/>
                </a:lnTo>
                <a:lnTo>
                  <a:pt x="2879" y="288"/>
                </a:lnTo>
                <a:lnTo>
                  <a:pt x="0" y="288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auto">
          <a:xfrm>
            <a:off x="4572001" y="6397625"/>
            <a:ext cx="4570413" cy="457200"/>
          </a:xfrm>
          <a:custGeom>
            <a:avLst/>
            <a:gdLst>
              <a:gd name="T0" fmla="*/ 2879 w 2879"/>
              <a:gd name="T1" fmla="*/ 288 h 288"/>
              <a:gd name="T2" fmla="*/ 0 w 2879"/>
              <a:gd name="T3" fmla="*/ 288 h 288"/>
              <a:gd name="T4" fmla="*/ 290 w 2879"/>
              <a:gd name="T5" fmla="*/ 0 h 288"/>
              <a:gd name="T6" fmla="*/ 2879 w 2879"/>
              <a:gd name="T7" fmla="*/ 0 h 288"/>
              <a:gd name="T8" fmla="*/ 2879 w 2879"/>
              <a:gd name="T9" fmla="*/ 288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79" h="288">
                <a:moveTo>
                  <a:pt x="2879" y="288"/>
                </a:moveTo>
                <a:lnTo>
                  <a:pt x="0" y="288"/>
                </a:lnTo>
                <a:lnTo>
                  <a:pt x="290" y="0"/>
                </a:lnTo>
                <a:lnTo>
                  <a:pt x="2879" y="0"/>
                </a:lnTo>
                <a:lnTo>
                  <a:pt x="2879" y="288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itle 1"/>
          <p:cNvSpPr>
            <a:spLocks noGrp="1"/>
          </p:cNvSpPr>
          <p:nvPr>
            <p:ph type="title" hasCustomPrompt="1"/>
          </p:nvPr>
        </p:nvSpPr>
        <p:spPr>
          <a:xfrm>
            <a:off x="440871" y="1014757"/>
            <a:ext cx="6733042" cy="538609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47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440871" y="1751357"/>
            <a:ext cx="8284029" cy="395441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ody</a:t>
            </a: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  <p:pic>
        <p:nvPicPr>
          <p:cNvPr id="48" name="Picture 4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000" y="252000"/>
            <a:ext cx="1375200" cy="810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3786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756964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87" name="Group 4"/>
          <p:cNvGrpSpPr>
            <a:grpSpLocks noChangeAspect="1"/>
          </p:cNvGrpSpPr>
          <p:nvPr userDrawn="1"/>
        </p:nvGrpSpPr>
        <p:grpSpPr bwMode="auto">
          <a:xfrm>
            <a:off x="1588" y="-3175"/>
            <a:ext cx="9140825" cy="6861175"/>
            <a:chOff x="1" y="-2"/>
            <a:chExt cx="5758" cy="4322"/>
          </a:xfrm>
        </p:grpSpPr>
        <p:sp>
          <p:nvSpPr>
            <p:cNvPr id="88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1" y="0"/>
              <a:ext cx="5758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Freeform 5"/>
            <p:cNvSpPr>
              <a:spLocks/>
            </p:cNvSpPr>
            <p:nvPr userDrawn="1"/>
          </p:nvSpPr>
          <p:spPr bwMode="auto">
            <a:xfrm>
              <a:off x="1" y="-2"/>
              <a:ext cx="3169" cy="288"/>
            </a:xfrm>
            <a:custGeom>
              <a:avLst/>
              <a:gdLst>
                <a:gd name="T0" fmla="*/ 0 w 3169"/>
                <a:gd name="T1" fmla="*/ 0 h 288"/>
                <a:gd name="T2" fmla="*/ 3169 w 3169"/>
                <a:gd name="T3" fmla="*/ 0 h 288"/>
                <a:gd name="T4" fmla="*/ 2879 w 3169"/>
                <a:gd name="T5" fmla="*/ 288 h 288"/>
                <a:gd name="T6" fmla="*/ 0 w 3169"/>
                <a:gd name="T7" fmla="*/ 288 h 288"/>
                <a:gd name="T8" fmla="*/ 0 w 3169"/>
                <a:gd name="T9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69" h="288">
                  <a:moveTo>
                    <a:pt x="0" y="0"/>
                  </a:moveTo>
                  <a:lnTo>
                    <a:pt x="3169" y="0"/>
                  </a:lnTo>
                  <a:lnTo>
                    <a:pt x="2879" y="288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Freeform 6"/>
            <p:cNvSpPr>
              <a:spLocks/>
            </p:cNvSpPr>
            <p:nvPr userDrawn="1"/>
          </p:nvSpPr>
          <p:spPr bwMode="auto">
            <a:xfrm>
              <a:off x="1" y="-2"/>
              <a:ext cx="3169" cy="288"/>
            </a:xfrm>
            <a:custGeom>
              <a:avLst/>
              <a:gdLst>
                <a:gd name="T0" fmla="*/ 0 w 3169"/>
                <a:gd name="T1" fmla="*/ 0 h 288"/>
                <a:gd name="T2" fmla="*/ 3169 w 3169"/>
                <a:gd name="T3" fmla="*/ 0 h 288"/>
                <a:gd name="T4" fmla="*/ 2879 w 3169"/>
                <a:gd name="T5" fmla="*/ 288 h 288"/>
                <a:gd name="T6" fmla="*/ 0 w 3169"/>
                <a:gd name="T7" fmla="*/ 288 h 288"/>
                <a:gd name="T8" fmla="*/ 0 w 3169"/>
                <a:gd name="T9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69" h="288">
                  <a:moveTo>
                    <a:pt x="0" y="0"/>
                  </a:moveTo>
                  <a:lnTo>
                    <a:pt x="3169" y="0"/>
                  </a:lnTo>
                  <a:lnTo>
                    <a:pt x="2879" y="288"/>
                  </a:lnTo>
                  <a:lnTo>
                    <a:pt x="0" y="28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Freeform 7"/>
            <p:cNvSpPr>
              <a:spLocks/>
            </p:cNvSpPr>
            <p:nvPr userDrawn="1"/>
          </p:nvSpPr>
          <p:spPr bwMode="auto">
            <a:xfrm>
              <a:off x="2880" y="4030"/>
              <a:ext cx="2879" cy="288"/>
            </a:xfrm>
            <a:custGeom>
              <a:avLst/>
              <a:gdLst>
                <a:gd name="T0" fmla="*/ 2879 w 2879"/>
                <a:gd name="T1" fmla="*/ 288 h 288"/>
                <a:gd name="T2" fmla="*/ 0 w 2879"/>
                <a:gd name="T3" fmla="*/ 288 h 288"/>
                <a:gd name="T4" fmla="*/ 290 w 2879"/>
                <a:gd name="T5" fmla="*/ 0 h 288"/>
                <a:gd name="T6" fmla="*/ 2879 w 2879"/>
                <a:gd name="T7" fmla="*/ 0 h 288"/>
                <a:gd name="T8" fmla="*/ 2879 w 2879"/>
                <a:gd name="T9" fmla="*/ 28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79" h="288">
                  <a:moveTo>
                    <a:pt x="2879" y="288"/>
                  </a:moveTo>
                  <a:lnTo>
                    <a:pt x="0" y="288"/>
                  </a:lnTo>
                  <a:lnTo>
                    <a:pt x="290" y="0"/>
                  </a:lnTo>
                  <a:lnTo>
                    <a:pt x="2879" y="0"/>
                  </a:lnTo>
                  <a:lnTo>
                    <a:pt x="2879" y="288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Freeform 8"/>
            <p:cNvSpPr>
              <a:spLocks/>
            </p:cNvSpPr>
            <p:nvPr userDrawn="1"/>
          </p:nvSpPr>
          <p:spPr bwMode="auto">
            <a:xfrm>
              <a:off x="2880" y="4030"/>
              <a:ext cx="2879" cy="288"/>
            </a:xfrm>
            <a:custGeom>
              <a:avLst/>
              <a:gdLst>
                <a:gd name="T0" fmla="*/ 2879 w 2879"/>
                <a:gd name="T1" fmla="*/ 288 h 288"/>
                <a:gd name="T2" fmla="*/ 0 w 2879"/>
                <a:gd name="T3" fmla="*/ 288 h 288"/>
                <a:gd name="T4" fmla="*/ 290 w 2879"/>
                <a:gd name="T5" fmla="*/ 0 h 288"/>
                <a:gd name="T6" fmla="*/ 2879 w 2879"/>
                <a:gd name="T7" fmla="*/ 0 h 288"/>
                <a:gd name="T8" fmla="*/ 2879 w 2879"/>
                <a:gd name="T9" fmla="*/ 28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79" h="288">
                  <a:moveTo>
                    <a:pt x="2879" y="288"/>
                  </a:moveTo>
                  <a:lnTo>
                    <a:pt x="0" y="288"/>
                  </a:lnTo>
                  <a:lnTo>
                    <a:pt x="290" y="0"/>
                  </a:lnTo>
                  <a:lnTo>
                    <a:pt x="2879" y="0"/>
                  </a:lnTo>
                  <a:lnTo>
                    <a:pt x="2879" y="28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irectorate | Office | Faculty | Schoo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000" y="252000"/>
            <a:ext cx="1375200" cy="810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0067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91" r:id="rId2"/>
    <p:sldLayoutId id="2147483663" r:id="rId3"/>
    <p:sldLayoutId id="2147483664" r:id="rId4"/>
    <p:sldLayoutId id="2147483665" r:id="rId5"/>
    <p:sldLayoutId id="2147483682" r:id="rId6"/>
    <p:sldLayoutId id="2147483679" r:id="rId7"/>
    <p:sldLayoutId id="2147483686" r:id="rId8"/>
    <p:sldLayoutId id="2147483689" r:id="rId9"/>
    <p:sldLayoutId id="2147483692" r:id="rId10"/>
    <p:sldLayoutId id="2147483693" r:id="rId11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866" b="1" kern="1200">
          <a:solidFill>
            <a:srgbClr val="3D3935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rgbClr val="F2120C"/>
        </a:buClr>
        <a:buFont typeface="Arial" panose="020B0604020202020204" pitchFamily="34" charset="0"/>
        <a:buChar char="•"/>
        <a:defRPr sz="2533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24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20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18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18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C9E112-027E-354F-8307-282CA3EFD63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66163" y="2566181"/>
            <a:ext cx="3092450" cy="661477"/>
          </a:xfrm>
        </p:spPr>
        <p:txBody>
          <a:bodyPr>
            <a:noAutofit/>
          </a:bodyPr>
          <a:lstStyle/>
          <a:p>
            <a:r>
              <a:rPr lang="en-AU" sz="3200" dirty="0"/>
              <a:t>ITEC618 Lab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8F9F85D-2615-AA43-9E5D-5A644907F030}"/>
              </a:ext>
            </a:extLst>
          </p:cNvPr>
          <p:cNvSpPr txBox="1">
            <a:spLocks/>
          </p:cNvSpPr>
          <p:nvPr/>
        </p:nvSpPr>
        <p:spPr>
          <a:xfrm>
            <a:off x="5066162" y="3276928"/>
            <a:ext cx="4004265" cy="21884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F2120C"/>
              </a:buClr>
              <a:buFont typeface="Arial" panose="020B0604020202020204" pitchFamily="34" charset="0"/>
              <a:buNone/>
              <a:defRPr sz="1997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24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2800" dirty="0"/>
              <a:t>Programming Concepts</a:t>
            </a:r>
          </a:p>
          <a:p>
            <a:r>
              <a:rPr lang="en-AU" sz="2800" dirty="0"/>
              <a:t>Dr. Farshid Keivanian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5430B55-DB2B-9345-99E3-2F615CE33423}"/>
              </a:ext>
            </a:extLst>
          </p:cNvPr>
          <p:cNvSpPr txBox="1">
            <a:spLocks/>
          </p:cNvSpPr>
          <p:nvPr/>
        </p:nvSpPr>
        <p:spPr>
          <a:xfrm>
            <a:off x="498764" y="2060702"/>
            <a:ext cx="3092450" cy="66147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F2120C"/>
              </a:buClr>
              <a:buFont typeface="Arial" panose="020B0604020202020204" pitchFamily="34" charset="0"/>
              <a:buNone/>
              <a:defRPr sz="1997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24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F2120C"/>
              </a:buClr>
              <a:buFont typeface="Arial" panose="020B0604020202020204" pitchFamily="34" charset="0"/>
              <a:buChar char="•"/>
              <a:defRPr sz="18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3200" dirty="0"/>
              <a:t>Lab 5</a:t>
            </a:r>
          </a:p>
        </p:txBody>
      </p:sp>
    </p:spTree>
    <p:extLst>
      <p:ext uri="{BB962C8B-B14F-4D97-AF65-F5344CB8AC3E}">
        <p14:creationId xmlns:p14="http://schemas.microsoft.com/office/powerpoint/2010/main" val="6078645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25E16A-6FAD-FC8D-F4DA-C8B692D0C2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4224ABD8-4692-6189-72B5-32CE8C3A7A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10</a:t>
            </a:fld>
            <a:endParaRPr lang="en-US" altLang="en-US" sz="1400"/>
          </a:p>
        </p:txBody>
      </p:sp>
      <p:sp>
        <p:nvSpPr>
          <p:cNvPr id="58371" name="Rectangle 3">
            <a:extLst>
              <a:ext uri="{FF2B5EF4-FFF2-40B4-BE49-F238E27FC236}">
                <a16:creationId xmlns:a16="http://schemas.microsoft.com/office/drawing/2014/main" id="{6DE02D9A-49D9-B070-117C-928E955B5BA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0" y="0"/>
            <a:ext cx="4666593" cy="6858000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3: Write the Account Class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ere’s the complete code for the </a:t>
            </a:r>
            <a:r>
              <a:rPr kumimoji="0" lang="en-US" altLang="en-US" sz="2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ccount</a:t>
            </a:r>
            <a:r>
              <a:rPr kumimoji="0" lang="en-US" altLang="en-US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.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D305D61-8DEA-9550-6F48-BF964D2ECE1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0531" t="3357" r="30909" b="28596"/>
          <a:stretch/>
        </p:blipFill>
        <p:spPr>
          <a:xfrm>
            <a:off x="4666593" y="-1"/>
            <a:ext cx="4477407" cy="444438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6374DFF-5642-D340-4DF4-12EAA65CFBF2}"/>
              </a:ext>
            </a:extLst>
          </p:cNvPr>
          <p:cNvSpPr txBox="1"/>
          <p:nvPr/>
        </p:nvSpPr>
        <p:spPr>
          <a:xfrm>
            <a:off x="0" y="2950523"/>
            <a:ext cx="4666593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sz="2800" dirty="0">
                <a:latin typeface="Calibri" panose="020F0502020204030204" pitchFamily="34" charset="0"/>
                <a:cs typeface="Calibri" panose="020F0502020204030204" pitchFamily="34" charset="0"/>
              </a:rPr>
              <a:t>C:\Users\...\eclipse-workspace\AccountProject\src\accoun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5E942BA-08B0-00ED-3DE8-78FBE90A25B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7446" b="43512"/>
          <a:stretch/>
        </p:blipFill>
        <p:spPr>
          <a:xfrm>
            <a:off x="0" y="4335518"/>
            <a:ext cx="9144000" cy="2522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4328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867007-2454-226A-32FF-CA4B17F7DF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F192CA41-B8BD-67EE-D38A-549EF579F9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11</a:t>
            </a:fld>
            <a:endParaRPr lang="en-US" altLang="en-US" sz="14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FEEBB1A-5F18-14FD-293C-FE5F2D8446AA}"/>
              </a:ext>
            </a:extLst>
          </p:cNvPr>
          <p:cNvSpPr txBox="1"/>
          <p:nvPr/>
        </p:nvSpPr>
        <p:spPr>
          <a:xfrm>
            <a:off x="0" y="1477248"/>
            <a:ext cx="9144000" cy="39035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n account is created with ID 1 and an initial balance of 1000.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e annual interest rate is set to 4.5%.</a:t>
            </a:r>
          </a:p>
          <a:p>
            <a:pPr marL="457200" marR="0" lvl="0" indent="-4572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 withdrawal and deposit operation is demonstrated, and the account details are printed before and after these operations. </a:t>
            </a:r>
          </a:p>
        </p:txBody>
      </p:sp>
    </p:spTree>
    <p:extLst>
      <p:ext uri="{BB962C8B-B14F-4D97-AF65-F5344CB8AC3E}">
        <p14:creationId xmlns:p14="http://schemas.microsoft.com/office/powerpoint/2010/main" val="33999104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27B4BA-EC27-1EAE-86ED-19E5442E7F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92772B8C-C9CE-0E3F-5490-653E5DEBE7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12</a:t>
            </a:fld>
            <a:endParaRPr lang="en-US" altLang="en-US" sz="1400"/>
          </a:p>
        </p:txBody>
      </p:sp>
      <p:sp>
        <p:nvSpPr>
          <p:cNvPr id="58371" name="Rectangle 3">
            <a:extLst>
              <a:ext uri="{FF2B5EF4-FFF2-40B4-BE49-F238E27FC236}">
                <a16:creationId xmlns:a16="http://schemas.microsoft.com/office/drawing/2014/main" id="{E2310D2B-83BE-C704-0A57-2E26E93C6C8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0" y="0"/>
            <a:ext cx="4666593" cy="6858000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4: Create a Test Class with the main Metho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o run the program, we will create a simple test class that demonstrates how to use the Account clas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Right-click on the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rc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folder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elect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las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Name this class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estAccoun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nd ensure the public static void main(String[]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rg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) checkbox is selected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D61348B-D71D-3F5F-524B-DE2A725F1FE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59655" b="7548"/>
          <a:stretch/>
        </p:blipFill>
        <p:spPr>
          <a:xfrm>
            <a:off x="4666593" y="0"/>
            <a:ext cx="4477407" cy="5771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23776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36EBE7-D51E-AD9F-238F-E13D050BD3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18F7FA80-9794-21CA-B999-6C98FE563A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13</a:t>
            </a:fld>
            <a:endParaRPr lang="en-US" altLang="en-US" sz="1400"/>
          </a:p>
        </p:txBody>
      </p:sp>
      <p:sp>
        <p:nvSpPr>
          <p:cNvPr id="58371" name="Rectangle 3">
            <a:extLst>
              <a:ext uri="{FF2B5EF4-FFF2-40B4-BE49-F238E27FC236}">
                <a16:creationId xmlns:a16="http://schemas.microsoft.com/office/drawing/2014/main" id="{854A1C2C-4860-F1CF-3C24-D3973741F5B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0" y="0"/>
            <a:ext cx="4666593" cy="6858000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4: Create a Test Class with the main Metho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o run the program, we will create a simple test class that demonstrates how to use the Account clas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Right-click on the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rc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folder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elect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las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Name this class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estAccoun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nd ensure the public static void main(String[]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rg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) checkbox is selected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8D58F3A-A1A4-56A8-FBF5-19DFC09FC13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0000" r="29885" b="28391"/>
          <a:stretch/>
        </p:blipFill>
        <p:spPr>
          <a:xfrm>
            <a:off x="4666593" y="0"/>
            <a:ext cx="4477407" cy="4495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7205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EFE6BD-E02E-0005-BF55-7AE2D23FFB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953EDABB-3254-167C-C143-0F3E3F4D2B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14</a:t>
            </a:fld>
            <a:endParaRPr lang="en-US" altLang="en-US" sz="1400"/>
          </a:p>
        </p:txBody>
      </p:sp>
      <p:sp>
        <p:nvSpPr>
          <p:cNvPr id="58371" name="Rectangle 3">
            <a:extLst>
              <a:ext uri="{FF2B5EF4-FFF2-40B4-BE49-F238E27FC236}">
                <a16:creationId xmlns:a16="http://schemas.microsoft.com/office/drawing/2014/main" id="{7DA7FB4E-A0E8-ADF0-831E-7538AA48109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0" y="0"/>
            <a:ext cx="9144000" cy="3532133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4: Create a Test Class with the main Metho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o run the program, we will create a simple test class that demonstrates how to use the Account class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Right-click on the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rc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folder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elect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las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Name this class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estAccoun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nd ensure the public static void main(String[]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rg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) checkbox is selected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0E42D7B-2A87-F56A-F4F1-5C7F5ACB8B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35339"/>
          <a:stretch/>
        </p:blipFill>
        <p:spPr>
          <a:xfrm>
            <a:off x="0" y="3532133"/>
            <a:ext cx="9144000" cy="3325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5726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C82318-4067-6E1F-56EE-4D442834CF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D3FB6931-916E-5410-C6B8-FF30A73DD0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15</a:t>
            </a:fld>
            <a:endParaRPr lang="en-US" altLang="en-US" sz="1400"/>
          </a:p>
        </p:txBody>
      </p:sp>
      <p:sp>
        <p:nvSpPr>
          <p:cNvPr id="58371" name="Rectangle 3">
            <a:extLst>
              <a:ext uri="{FF2B5EF4-FFF2-40B4-BE49-F238E27FC236}">
                <a16:creationId xmlns:a16="http://schemas.microsoft.com/office/drawing/2014/main" id="{8FEABC71-85CB-DE93-0D93-C3AEF5F020D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0" y="0"/>
            <a:ext cx="3069021" cy="6510471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5: Running the Program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Right-click on the TestAccount.java file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elect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un A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Java Application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The output in the console should look something like this: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4C0751E-BA14-ADD8-6DCD-7E5076E009B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47471" b="5913"/>
          <a:stretch/>
        </p:blipFill>
        <p:spPr>
          <a:xfrm>
            <a:off x="3037491" y="0"/>
            <a:ext cx="6074979" cy="6120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7524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DF4721-4940-61EE-8675-1F525D6B54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48968CFF-0050-2A48-3F15-D92B61D96D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16</a:t>
            </a:fld>
            <a:endParaRPr lang="en-US" altLang="en-US" sz="14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03A342E-EA7D-7091-24AE-14940C6F38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29073"/>
          <a:stretch/>
        </p:blipFill>
        <p:spPr>
          <a:xfrm>
            <a:off x="0" y="0"/>
            <a:ext cx="9144000" cy="3648149"/>
          </a:xfrm>
          <a:prstGeom prst="rect">
            <a:avLst/>
          </a:prstGeom>
        </p:spPr>
      </p:pic>
      <p:sp>
        <p:nvSpPr>
          <p:cNvPr id="7" name="Rectangle 1">
            <a:extLst>
              <a:ext uri="{FF2B5EF4-FFF2-40B4-BE49-F238E27FC236}">
                <a16:creationId xmlns:a16="http://schemas.microsoft.com/office/drawing/2014/main" id="{F2108E29-B941-5D73-D7C3-16A9EF725E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3749457"/>
            <a:ext cx="9144000" cy="31085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e main method:</a:t>
            </a: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reates an Account object with an initial balance of $1000 and ID 123.</a:t>
            </a: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ets the annual interest rate to 5%.</a:t>
            </a: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eposits $500 and withdraws $300.</a:t>
            </a:r>
          </a:p>
          <a:p>
            <a:pPr marL="457200" marR="0" lvl="0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ints the account details before and after the transactions. </a:t>
            </a:r>
          </a:p>
        </p:txBody>
      </p:sp>
    </p:spTree>
    <p:extLst>
      <p:ext uri="{BB962C8B-B14F-4D97-AF65-F5344CB8AC3E}">
        <p14:creationId xmlns:p14="http://schemas.microsoft.com/office/powerpoint/2010/main" val="32124459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7FD1F1-ECBE-0DA1-BD0E-20D73B38AA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D108423D-4112-5132-5296-369FF61035E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17</a:t>
            </a:fld>
            <a:endParaRPr lang="en-US" altLang="en-US" sz="14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A26FFDF-2E41-5E43-E796-6E1ADDE8515D}"/>
              </a:ext>
            </a:extLst>
          </p:cNvPr>
          <p:cNvSpPr txBox="1"/>
          <p:nvPr/>
        </p:nvSpPr>
        <p:spPr>
          <a:xfrm>
            <a:off x="0" y="0"/>
            <a:ext cx="9144000" cy="261084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Minor Change Suggestion for Students</a:t>
            </a:r>
          </a:p>
          <a:p>
            <a:pPr>
              <a:lnSpc>
                <a:spcPct val="150000"/>
              </a:lnSpc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To demonstrate additional skills, you can modify the </a:t>
            </a: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withdraw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method to add a check that prevents withdrawing negative amounts and provides an error message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7B435F-FA7B-B25E-79CC-EFC0B8DFD49D}"/>
              </a:ext>
            </a:extLst>
          </p:cNvPr>
          <p:cNvSpPr txBox="1"/>
          <p:nvPr/>
        </p:nvSpPr>
        <p:spPr>
          <a:xfrm>
            <a:off x="0" y="2815997"/>
            <a:ext cx="9144000" cy="3477875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r>
              <a:rPr lang="en-US" sz="22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2200" b="0" dirty="0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2200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withdraw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2200" b="0" dirty="0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double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amount) {</a:t>
            </a:r>
          </a:p>
          <a:p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2200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(amount </a:t>
            </a:r>
            <a:r>
              <a:rPr lang="en-US" sz="22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&lt;=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2200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22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ystem</a:t>
            </a:r>
            <a:r>
              <a:rPr lang="en-US" sz="2200" b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22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out</a:t>
            </a:r>
            <a:r>
              <a:rPr lang="en-US" sz="2200" b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22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ln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22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Amount to withdraw must be greater than 0."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} </a:t>
            </a:r>
            <a:r>
              <a:rPr lang="en-US" sz="2200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2200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(amount </a:t>
            </a:r>
            <a:r>
              <a:rPr lang="en-US" sz="22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&lt;=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balance) {</a:t>
            </a:r>
          </a:p>
          <a:p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    balance </a:t>
            </a:r>
            <a:r>
              <a:rPr lang="en-US" sz="22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-=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amount;</a:t>
            </a:r>
          </a:p>
          <a:p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} </a:t>
            </a:r>
            <a:r>
              <a:rPr lang="en-US" sz="2200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22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ystem</a:t>
            </a:r>
            <a:r>
              <a:rPr lang="en-US" sz="2200" b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22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out</a:t>
            </a:r>
            <a:r>
              <a:rPr lang="en-US" sz="2200" b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22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ln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22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Insufficient balance."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20104862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552A92-AD90-A71D-C7EC-269358FAF0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73E50CC3-60F3-8194-93F4-D27396C38EB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18</a:t>
            </a:fld>
            <a:endParaRPr lang="en-US" altLang="en-US" sz="14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7B05C66-A637-1799-3DDA-3B9422AA9129}"/>
              </a:ext>
            </a:extLst>
          </p:cNvPr>
          <p:cNvSpPr txBox="1"/>
          <p:nvPr/>
        </p:nvSpPr>
        <p:spPr>
          <a:xfrm>
            <a:off x="21021" y="1394592"/>
            <a:ext cx="9144000" cy="196451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This simple change demonstrates attention to error handling, a valuable skill in programming. Students can show they are thinking about corner cases and validating user inputs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F87BC94-E740-3222-FB4D-00BCEB247D3F}"/>
              </a:ext>
            </a:extLst>
          </p:cNvPr>
          <p:cNvSpPr txBox="1"/>
          <p:nvPr/>
        </p:nvSpPr>
        <p:spPr>
          <a:xfrm>
            <a:off x="21021" y="3380125"/>
            <a:ext cx="9144000" cy="3477875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r>
              <a:rPr lang="en-US" sz="22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2200" b="0" dirty="0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2200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withdraw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2200" b="0" dirty="0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double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amount) {</a:t>
            </a:r>
          </a:p>
          <a:p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2200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(amount </a:t>
            </a:r>
            <a:r>
              <a:rPr lang="en-US" sz="22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&lt;=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2200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22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ystem</a:t>
            </a:r>
            <a:r>
              <a:rPr lang="en-US" sz="2200" b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22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out</a:t>
            </a:r>
            <a:r>
              <a:rPr lang="en-US" sz="2200" b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22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ln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22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Amount to withdraw must be greater than 0."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} </a:t>
            </a:r>
            <a:r>
              <a:rPr lang="en-US" sz="2200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2200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(amount </a:t>
            </a:r>
            <a:r>
              <a:rPr lang="en-US" sz="22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&lt;=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balance) {</a:t>
            </a:r>
          </a:p>
          <a:p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    balance </a:t>
            </a:r>
            <a:r>
              <a:rPr lang="en-US" sz="22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-=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amount;</a:t>
            </a:r>
          </a:p>
          <a:p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} </a:t>
            </a:r>
            <a:r>
              <a:rPr lang="en-US" sz="2200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22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ystem</a:t>
            </a:r>
            <a:r>
              <a:rPr lang="en-US" sz="2200" b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22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out</a:t>
            </a:r>
            <a:r>
              <a:rPr lang="en-US" sz="2200" b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22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ln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22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Insufficient balance."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2628855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665AE8-0A06-4D92-22B1-3D6F9D1ACA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3CC70186-0997-5806-BF63-2F579F3C5E1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19</a:t>
            </a:fld>
            <a:endParaRPr lang="en-US" altLang="en-US" sz="1400"/>
          </a:p>
        </p:txBody>
      </p:sp>
      <p:pic>
        <p:nvPicPr>
          <p:cNvPr id="7170" name="Picture 2" descr="Uploaded image">
            <a:extLst>
              <a:ext uri="{FF2B5EF4-FFF2-40B4-BE49-F238E27FC236}">
                <a16:creationId xmlns:a16="http://schemas.microsoft.com/office/drawing/2014/main" id="{E1B81EFD-6100-EA3B-246F-4D19FA2B326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5866" b="3295"/>
          <a:stretch/>
        </p:blipFill>
        <p:spPr bwMode="auto">
          <a:xfrm>
            <a:off x="0" y="225972"/>
            <a:ext cx="3637674" cy="6632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61E73F6-E9F9-AD58-ECF7-1D9C4AAAA3DE}"/>
              </a:ext>
            </a:extLst>
          </p:cNvPr>
          <p:cNvSpPr txBox="1"/>
          <p:nvPr/>
        </p:nvSpPr>
        <p:spPr>
          <a:xfrm>
            <a:off x="3637674" y="1577474"/>
            <a:ext cx="5506326" cy="19645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A simple UML diagram for the </a:t>
            </a: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Account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class based on the requirements</a:t>
            </a:r>
            <a:endParaRPr lang="en-AU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87381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565C127-6DCD-4C12-9DB4-9E72410B70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9080" t="40345" r="18966" b="9796"/>
          <a:stretch/>
        </p:blipFill>
        <p:spPr>
          <a:xfrm>
            <a:off x="-25070" y="1208690"/>
            <a:ext cx="9194140" cy="4162096"/>
          </a:xfrm>
          <a:prstGeom prst="rect">
            <a:avLst/>
          </a:prstGeom>
        </p:spPr>
      </p:pic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19D909EA-EC89-0D42-93AF-651DF264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2</a:t>
            </a:fld>
            <a:endParaRPr lang="en-US" altLang="en-US" sz="140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7E23975-9CDD-67F6-810B-692019816E3D}"/>
              </a:ext>
            </a:extLst>
          </p:cNvPr>
          <p:cNvSpPr/>
          <p:nvPr/>
        </p:nvSpPr>
        <p:spPr>
          <a:xfrm>
            <a:off x="-25070" y="4761187"/>
            <a:ext cx="4214648" cy="446690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718923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9ED6DE-6CAB-DB4F-D567-674F2C7557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F395ED4E-4597-2FAD-C9E0-F4F1D68113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20</a:t>
            </a:fld>
            <a:endParaRPr lang="en-US" altLang="en-US" sz="14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890224E-F49E-AC55-B661-1803B7654EB2}"/>
              </a:ext>
            </a:extLst>
          </p:cNvPr>
          <p:cNvSpPr txBox="1"/>
          <p:nvPr/>
        </p:nvSpPr>
        <p:spPr>
          <a:xfrm>
            <a:off x="0" y="0"/>
            <a:ext cx="9144000" cy="261084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uggested Minor Change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s a minor change, you can add a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inimum balance restriction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to the withdraw method. This demonstrates your ability to add business logic constraints to their program.</a:t>
            </a:r>
          </a:p>
        </p:txBody>
      </p:sp>
    </p:spTree>
    <p:extLst>
      <p:ext uri="{BB962C8B-B14F-4D97-AF65-F5344CB8AC3E}">
        <p14:creationId xmlns:p14="http://schemas.microsoft.com/office/powerpoint/2010/main" val="18377099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AE0EF8-CDD6-03FD-2673-77CC36344D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316E033A-A3DF-920D-D980-E67F4A51CE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21</a:t>
            </a:fld>
            <a:endParaRPr lang="en-US" altLang="en-US" sz="14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E892417-ACA7-330D-1645-C3BE47DBC8B8}"/>
              </a:ext>
            </a:extLst>
          </p:cNvPr>
          <p:cNvSpPr txBox="1"/>
          <p:nvPr/>
        </p:nvSpPr>
        <p:spPr>
          <a:xfrm>
            <a:off x="0" y="1139078"/>
            <a:ext cx="9144000" cy="4832092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r>
              <a:rPr lang="en-US" sz="22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 Method to withdraw money from the account with a minimum balance restriction</a:t>
            </a:r>
            <a:endParaRPr lang="en-US" sz="22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2200" b="0" dirty="0">
                <a:solidFill>
                  <a:srgbClr val="569CD6"/>
                </a:solidFill>
                <a:effectLst/>
                <a:latin typeface="Consolas" panose="020B0609020204030204" pitchFamily="49" charset="0"/>
              </a:rPr>
              <a:t>public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2200" b="0" dirty="0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void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2200" b="0" dirty="0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withdraw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2200" b="0" dirty="0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double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amount) {</a:t>
            </a:r>
          </a:p>
          <a:p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2200" b="0" dirty="0">
                <a:solidFill>
                  <a:srgbClr val="4EC9B0"/>
                </a:solidFill>
                <a:effectLst/>
                <a:latin typeface="Consolas" panose="020B0609020204030204" pitchFamily="49" charset="0"/>
              </a:rPr>
              <a:t>double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22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minimumBalance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22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2200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500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;  </a:t>
            </a:r>
            <a:r>
              <a:rPr lang="en-US" sz="2200" b="0" dirty="0">
                <a:solidFill>
                  <a:srgbClr val="6A9955"/>
                </a:solidFill>
                <a:effectLst/>
                <a:latin typeface="Consolas" panose="020B0609020204030204" pitchFamily="49" charset="0"/>
              </a:rPr>
              <a:t>// New minimum balance restriction</a:t>
            </a:r>
            <a:endParaRPr lang="en-US" sz="2200" b="0" dirty="0">
              <a:solidFill>
                <a:srgbClr val="CCCCCC"/>
              </a:solidFill>
              <a:effectLst/>
              <a:latin typeface="Consolas" panose="020B0609020204030204" pitchFamily="49" charset="0"/>
            </a:endParaRPr>
          </a:p>
          <a:p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</a:t>
            </a:r>
            <a:r>
              <a:rPr lang="en-US" sz="2200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(amount </a:t>
            </a:r>
            <a:r>
              <a:rPr lang="en-US" sz="22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&lt;=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2200" b="0" dirty="0">
                <a:solidFill>
                  <a:srgbClr val="B5CEA8"/>
                </a:solidFill>
                <a:effectLst/>
                <a:latin typeface="Consolas" panose="020B0609020204030204" pitchFamily="49" charset="0"/>
              </a:rPr>
              <a:t>0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22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ystem</a:t>
            </a:r>
            <a:r>
              <a:rPr lang="en-US" sz="2200" b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22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out</a:t>
            </a:r>
            <a:r>
              <a:rPr lang="en-US" sz="2200" b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22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ln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22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Amount must be positive."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} </a:t>
            </a:r>
            <a:r>
              <a:rPr lang="en-US" sz="2200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2200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(balance </a:t>
            </a:r>
            <a:r>
              <a:rPr lang="en-US" sz="22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amount </a:t>
            </a:r>
            <a:r>
              <a:rPr lang="en-US" sz="22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&gt;=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2200" b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minimumBalance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) {</a:t>
            </a:r>
          </a:p>
          <a:p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    balance </a:t>
            </a:r>
            <a:r>
              <a:rPr lang="en-US" sz="22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-=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amount;</a:t>
            </a:r>
          </a:p>
          <a:p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} </a:t>
            </a:r>
            <a:r>
              <a:rPr lang="en-US" sz="2200" b="0" dirty="0">
                <a:solidFill>
                  <a:srgbClr val="C586C0"/>
                </a:solidFill>
                <a:effectLst/>
                <a:latin typeface="Consolas" panose="020B0609020204030204" pitchFamily="49" charset="0"/>
              </a:rPr>
              <a:t>else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{</a:t>
            </a:r>
          </a:p>
          <a:p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    </a:t>
            </a:r>
            <a:r>
              <a:rPr lang="en-US" sz="22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System</a:t>
            </a:r>
            <a:r>
              <a:rPr lang="en-US" sz="2200" b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2200" b="0" dirty="0" err="1">
                <a:solidFill>
                  <a:srgbClr val="9CDCFE"/>
                </a:solidFill>
                <a:effectLst/>
                <a:latin typeface="Consolas" panose="020B0609020204030204" pitchFamily="49" charset="0"/>
              </a:rPr>
              <a:t>out</a:t>
            </a:r>
            <a:r>
              <a:rPr lang="en-US" sz="2200" b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.</a:t>
            </a:r>
            <a:r>
              <a:rPr lang="en-US" sz="2200" b="0" dirty="0" err="1">
                <a:solidFill>
                  <a:srgbClr val="DCDCAA"/>
                </a:solidFill>
                <a:effectLst/>
                <a:latin typeface="Consolas" panose="020B0609020204030204" pitchFamily="49" charset="0"/>
              </a:rPr>
              <a:t>println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(</a:t>
            </a:r>
            <a:r>
              <a:rPr lang="en-US" sz="2200" b="0" dirty="0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"Insufficient funds or balance will fall below minimum balance of $"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2200" b="0" dirty="0">
                <a:solidFill>
                  <a:srgbClr val="D4D4D4"/>
                </a:solidFill>
                <a:effectLst/>
                <a:latin typeface="Consolas" panose="020B0609020204030204" pitchFamily="49" charset="0"/>
              </a:rPr>
              <a:t>+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sz="2200" b="0" dirty="0" err="1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minimumBalance</a:t>
            </a:r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);</a:t>
            </a:r>
          </a:p>
          <a:p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    }</a:t>
            </a:r>
          </a:p>
          <a:p>
            <a:r>
              <a:rPr lang="en-US" sz="2200" b="0" dirty="0">
                <a:solidFill>
                  <a:srgbClr val="CCCCCC"/>
                </a:solidFill>
                <a:effectLst/>
                <a:latin typeface="Consolas" panose="020B060902020403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6661909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19D909EA-EC89-0D42-93AF-651DF26420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3</a:t>
            </a:fld>
            <a:endParaRPr lang="en-US" altLang="en-US" sz="1400"/>
          </a:p>
        </p:txBody>
      </p:sp>
      <p:sp>
        <p:nvSpPr>
          <p:cNvPr id="58370" name="Rectangle 2">
            <a:extLst>
              <a:ext uri="{FF2B5EF4-FFF2-40B4-BE49-F238E27FC236}">
                <a16:creationId xmlns:a16="http://schemas.microsoft.com/office/drawing/2014/main" id="{2A85EDB3-4489-E245-A44E-6FE24D5EDDE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7772400" cy="819150"/>
          </a:xfrm>
        </p:spPr>
        <p:txBody>
          <a:bodyPr>
            <a:normAutofit/>
          </a:bodyPr>
          <a:lstStyle/>
          <a:p>
            <a:r>
              <a:rPr lang="en-US" sz="4000" b="1" dirty="0">
                <a:latin typeface="Calibri" panose="020F0502020204030204" pitchFamily="34" charset="0"/>
                <a:cs typeface="Calibri" panose="020F0502020204030204" pitchFamily="34" charset="0"/>
              </a:rPr>
              <a:t>Task completion (3%)</a:t>
            </a:r>
          </a:p>
        </p:txBody>
      </p:sp>
      <p:sp>
        <p:nvSpPr>
          <p:cNvPr id="58371" name="Rectangle 3">
            <a:extLst>
              <a:ext uri="{FF2B5EF4-FFF2-40B4-BE49-F238E27FC236}">
                <a16:creationId xmlns:a16="http://schemas.microsoft.com/office/drawing/2014/main" id="{E579DB5F-F394-214E-942E-3B5A8ED2277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0" y="699236"/>
            <a:ext cx="9144000" cy="6158764"/>
          </a:xfrm>
          <a:solidFill>
            <a:schemeClr val="bg1"/>
          </a:solidFill>
        </p:spPr>
        <p:txBody>
          <a:bodyPr>
            <a:noAutofit/>
          </a:bodyPr>
          <a:lstStyle/>
          <a:p>
            <a:r>
              <a:rPr lang="en-US" sz="2100" dirty="0">
                <a:latin typeface="Calibri" panose="020F0502020204030204" pitchFamily="34" charset="0"/>
                <a:cs typeface="Calibri" panose="020F0502020204030204" pitchFamily="34" charset="0"/>
              </a:rPr>
              <a:t>Task completion (2%) </a:t>
            </a:r>
          </a:p>
          <a:p>
            <a:r>
              <a:rPr lang="en-US" sz="2100" dirty="0">
                <a:latin typeface="Calibri" panose="020F0502020204030204" pitchFamily="34" charset="0"/>
                <a:cs typeface="Calibri" panose="020F0502020204030204" pitchFamily="34" charset="0"/>
              </a:rPr>
              <a:t>10.1 (2%) (Smart Access Account) Design a real-world class named 'Account' that contains at least the following: </a:t>
            </a:r>
          </a:p>
          <a:p>
            <a:r>
              <a:rPr lang="en-US" sz="2100" dirty="0">
                <a:latin typeface="Calibri" panose="020F0502020204030204" pitchFamily="34" charset="0"/>
                <a:cs typeface="Calibri" panose="020F0502020204030204" pitchFamily="34" charset="0"/>
              </a:rPr>
              <a:t>• A private int data field named id for the account (default 0). </a:t>
            </a:r>
          </a:p>
          <a:p>
            <a:r>
              <a:rPr lang="en-US" sz="2100" dirty="0">
                <a:latin typeface="Calibri" panose="020F0502020204030204" pitchFamily="34" charset="0"/>
                <a:cs typeface="Calibri" panose="020F0502020204030204" pitchFamily="34" charset="0"/>
              </a:rPr>
              <a:t>• A private double data field named balance for the account (default 0). </a:t>
            </a:r>
          </a:p>
          <a:p>
            <a:r>
              <a:rPr lang="en-US" sz="2100" dirty="0">
                <a:latin typeface="Calibri" panose="020F0502020204030204" pitchFamily="34" charset="0"/>
                <a:cs typeface="Calibri" panose="020F0502020204030204" pitchFamily="34" charset="0"/>
              </a:rPr>
              <a:t>• A private double data field named </a:t>
            </a:r>
            <a:r>
              <a:rPr lang="en-US" sz="2100" dirty="0" err="1">
                <a:latin typeface="Calibri" panose="020F0502020204030204" pitchFamily="34" charset="0"/>
                <a:cs typeface="Calibri" panose="020F0502020204030204" pitchFamily="34" charset="0"/>
              </a:rPr>
              <a:t>annualInterestRate</a:t>
            </a:r>
            <a:r>
              <a:rPr lang="en-US" sz="2100" dirty="0">
                <a:latin typeface="Calibri" panose="020F0502020204030204" pitchFamily="34" charset="0"/>
                <a:cs typeface="Calibri" panose="020F0502020204030204" pitchFamily="34" charset="0"/>
              </a:rPr>
              <a:t> that stores the current interest rate (default 0). Assume that all accounts have the same interest rate. </a:t>
            </a:r>
          </a:p>
          <a:p>
            <a:r>
              <a:rPr lang="en-US" sz="2100" dirty="0">
                <a:latin typeface="Calibri" panose="020F0502020204030204" pitchFamily="34" charset="0"/>
                <a:cs typeface="Calibri" panose="020F0502020204030204" pitchFamily="34" charset="0"/>
              </a:rPr>
              <a:t>• A private Date data field named </a:t>
            </a:r>
            <a:r>
              <a:rPr lang="en-US" sz="2100" dirty="0" err="1">
                <a:latin typeface="Calibri" panose="020F0502020204030204" pitchFamily="34" charset="0"/>
                <a:cs typeface="Calibri" panose="020F0502020204030204" pitchFamily="34" charset="0"/>
              </a:rPr>
              <a:t>dateCreated</a:t>
            </a:r>
            <a:r>
              <a:rPr lang="en-US" sz="2100" dirty="0">
                <a:latin typeface="Calibri" panose="020F0502020204030204" pitchFamily="34" charset="0"/>
                <a:cs typeface="Calibri" panose="020F0502020204030204" pitchFamily="34" charset="0"/>
              </a:rPr>
              <a:t> that stores the date when the account was </a:t>
            </a:r>
          </a:p>
          <a:p>
            <a:r>
              <a:rPr lang="en-US" sz="2100" dirty="0">
                <a:latin typeface="Calibri" panose="020F0502020204030204" pitchFamily="34" charset="0"/>
                <a:cs typeface="Calibri" panose="020F0502020204030204" pitchFamily="34" charset="0"/>
              </a:rPr>
              <a:t>created. </a:t>
            </a:r>
          </a:p>
          <a:p>
            <a:r>
              <a:rPr lang="en-US" sz="2100" dirty="0">
                <a:latin typeface="Calibri" panose="020F0502020204030204" pitchFamily="34" charset="0"/>
                <a:cs typeface="Calibri" panose="020F0502020204030204" pitchFamily="34" charset="0"/>
              </a:rPr>
              <a:t>• A no-</a:t>
            </a:r>
            <a:r>
              <a:rPr lang="en-US" sz="2100" dirty="0" err="1">
                <a:latin typeface="Calibri" panose="020F0502020204030204" pitchFamily="34" charset="0"/>
                <a:cs typeface="Calibri" panose="020F0502020204030204" pitchFamily="34" charset="0"/>
              </a:rPr>
              <a:t>arg</a:t>
            </a:r>
            <a:r>
              <a:rPr lang="en-US" sz="2100" dirty="0">
                <a:latin typeface="Calibri" panose="020F0502020204030204" pitchFamily="34" charset="0"/>
                <a:cs typeface="Calibri" panose="020F0502020204030204" pitchFamily="34" charset="0"/>
              </a:rPr>
              <a:t> constructor that creates a default account. </a:t>
            </a:r>
          </a:p>
          <a:p>
            <a:r>
              <a:rPr lang="en-US" sz="2100" dirty="0">
                <a:latin typeface="Calibri" panose="020F0502020204030204" pitchFamily="34" charset="0"/>
                <a:cs typeface="Calibri" panose="020F0502020204030204" pitchFamily="34" charset="0"/>
              </a:rPr>
              <a:t>• A constructor that creates an account with the specified id and initial balance. </a:t>
            </a:r>
          </a:p>
          <a:p>
            <a:r>
              <a:rPr lang="en-US" sz="2100" dirty="0">
                <a:latin typeface="Calibri" panose="020F0502020204030204" pitchFamily="34" charset="0"/>
                <a:cs typeface="Calibri" panose="020F0502020204030204" pitchFamily="34" charset="0"/>
              </a:rPr>
              <a:t>• The accessor and mutator methods for id, balance, and </a:t>
            </a:r>
            <a:r>
              <a:rPr lang="en-US" sz="2100" dirty="0" err="1">
                <a:latin typeface="Calibri" panose="020F0502020204030204" pitchFamily="34" charset="0"/>
                <a:cs typeface="Calibri" panose="020F0502020204030204" pitchFamily="34" charset="0"/>
              </a:rPr>
              <a:t>annualInterestRate</a:t>
            </a:r>
            <a:r>
              <a:rPr lang="en-US" sz="2100" dirty="0">
                <a:latin typeface="Calibri" panose="020F0502020204030204" pitchFamily="34" charset="0"/>
                <a:cs typeface="Calibri" panose="020F0502020204030204" pitchFamily="34" charset="0"/>
              </a:rPr>
              <a:t>, e.g., </a:t>
            </a:r>
            <a:r>
              <a:rPr lang="en-US" sz="2100" dirty="0" err="1">
                <a:latin typeface="Calibri" panose="020F0502020204030204" pitchFamily="34" charset="0"/>
                <a:cs typeface="Calibri" panose="020F0502020204030204" pitchFamily="34" charset="0"/>
              </a:rPr>
              <a:t>getBalance</a:t>
            </a:r>
            <a:r>
              <a:rPr lang="en-US" sz="2100" dirty="0">
                <a:latin typeface="Calibri" panose="020F0502020204030204" pitchFamily="34" charset="0"/>
                <a:cs typeface="Calibri" panose="020F0502020204030204" pitchFamily="34" charset="0"/>
              </a:rPr>
              <a:t>(), </a:t>
            </a:r>
          </a:p>
        </p:txBody>
      </p:sp>
    </p:spTree>
    <p:extLst>
      <p:ext uri="{BB962C8B-B14F-4D97-AF65-F5344CB8AC3E}">
        <p14:creationId xmlns:p14="http://schemas.microsoft.com/office/powerpoint/2010/main" val="33474104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74EF3C-B8DC-A295-1932-B60082AD14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6177D7E3-5866-77A7-4D98-5ABE7CC8CF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4</a:t>
            </a:fld>
            <a:endParaRPr lang="en-US" altLang="en-US" sz="1400"/>
          </a:p>
        </p:txBody>
      </p:sp>
      <p:sp>
        <p:nvSpPr>
          <p:cNvPr id="58370" name="Rectangle 2">
            <a:extLst>
              <a:ext uri="{FF2B5EF4-FFF2-40B4-BE49-F238E27FC236}">
                <a16:creationId xmlns:a16="http://schemas.microsoft.com/office/drawing/2014/main" id="{F5055CF9-8D88-EFB0-2954-358BC078E9C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7772400" cy="819150"/>
          </a:xfrm>
        </p:spPr>
        <p:txBody>
          <a:bodyPr>
            <a:normAutofit/>
          </a:bodyPr>
          <a:lstStyle/>
          <a:p>
            <a:r>
              <a:rPr lang="en-US" sz="4000" b="1" dirty="0">
                <a:latin typeface="Calibri" panose="020F0502020204030204" pitchFamily="34" charset="0"/>
                <a:cs typeface="Calibri" panose="020F0502020204030204" pitchFamily="34" charset="0"/>
              </a:rPr>
              <a:t>Task completion (3%)</a:t>
            </a:r>
          </a:p>
        </p:txBody>
      </p:sp>
      <p:sp>
        <p:nvSpPr>
          <p:cNvPr id="58371" name="Rectangle 3">
            <a:extLst>
              <a:ext uri="{FF2B5EF4-FFF2-40B4-BE49-F238E27FC236}">
                <a16:creationId xmlns:a16="http://schemas.microsoft.com/office/drawing/2014/main" id="{BA8E3F30-43EC-340E-895A-0805FF03C75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0" y="699236"/>
            <a:ext cx="9144000" cy="6158764"/>
          </a:xfrm>
          <a:solidFill>
            <a:schemeClr val="bg1"/>
          </a:solidFill>
        </p:spPr>
        <p:txBody>
          <a:bodyPr>
            <a:noAutofit/>
          </a:bodyPr>
          <a:lstStyle/>
          <a:p>
            <a:r>
              <a:rPr lang="en-US" sz="2000" dirty="0"/>
              <a:t>• </a:t>
            </a:r>
            <a:r>
              <a:rPr lang="en-US" sz="2000" dirty="0" err="1"/>
              <a:t>setBalance</a:t>
            </a:r>
            <a:r>
              <a:rPr lang="en-US" sz="2000" dirty="0"/>
              <a:t>(double b) etc. </a:t>
            </a:r>
          </a:p>
          <a:p>
            <a:r>
              <a:rPr lang="en-US" sz="2000" dirty="0"/>
              <a:t>• The accessor method for </a:t>
            </a:r>
            <a:r>
              <a:rPr lang="en-US" sz="2000" dirty="0" err="1"/>
              <a:t>dateCreated</a:t>
            </a:r>
            <a:r>
              <a:rPr lang="en-US" sz="2000" dirty="0"/>
              <a:t>, e.g., </a:t>
            </a:r>
            <a:r>
              <a:rPr lang="en-US" sz="2000" dirty="0" err="1"/>
              <a:t>getDateCreated</a:t>
            </a:r>
            <a:r>
              <a:rPr lang="en-US" sz="2000" dirty="0"/>
              <a:t>(). </a:t>
            </a:r>
          </a:p>
          <a:p>
            <a:r>
              <a:rPr lang="en-US" sz="2000" dirty="0"/>
              <a:t>• A method named </a:t>
            </a:r>
            <a:r>
              <a:rPr lang="en-US" sz="2000" dirty="0" err="1"/>
              <a:t>getMonthlyInterestRate</a:t>
            </a:r>
            <a:r>
              <a:rPr lang="en-US" sz="2000" dirty="0"/>
              <a:t>() that returns the monthly interest rate. </a:t>
            </a:r>
          </a:p>
          <a:p>
            <a:r>
              <a:rPr lang="en-US" sz="2000" dirty="0"/>
              <a:t>• A method named </a:t>
            </a:r>
            <a:r>
              <a:rPr lang="en-US" sz="2000" dirty="0" err="1"/>
              <a:t>getMonthlyInterest</a:t>
            </a:r>
            <a:r>
              <a:rPr lang="en-US" sz="2000" dirty="0"/>
              <a:t>() that returns the monthly interest. </a:t>
            </a:r>
          </a:p>
          <a:p>
            <a:r>
              <a:rPr lang="en-US" sz="2000" dirty="0"/>
              <a:t>• A method named withdraw(double amount) that withdraws a specified amount from the </a:t>
            </a:r>
          </a:p>
          <a:p>
            <a:r>
              <a:rPr lang="en-US" sz="2000" dirty="0"/>
              <a:t>account. </a:t>
            </a:r>
          </a:p>
          <a:p>
            <a:r>
              <a:rPr lang="en-US" sz="2000" dirty="0"/>
              <a:t>• A method named deposit(double amount) that deposits a specified amount to the account. </a:t>
            </a:r>
          </a:p>
          <a:p>
            <a:r>
              <a:rPr lang="en-US" sz="2000" dirty="0"/>
              <a:t>• A </a:t>
            </a:r>
            <a:r>
              <a:rPr lang="en-US" sz="2000" dirty="0" err="1"/>
              <a:t>toString</a:t>
            </a:r>
            <a:r>
              <a:rPr lang="en-US" sz="2000" dirty="0"/>
              <a:t>() method that records a string representation of the status of the account. E.g., “The account id 123, created on April 1st, has a current balance of $20,000 and a monthly interest of $100”.</a:t>
            </a:r>
            <a:endParaRPr lang="en-US" sz="19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88509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7F8CFE-CDF3-6DF1-270B-4CAFEFDFD6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C9C44BEB-50E3-D2B4-AED7-743A8BF78BE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5</a:t>
            </a:fld>
            <a:endParaRPr lang="en-US" altLang="en-US" sz="1400"/>
          </a:p>
        </p:txBody>
      </p:sp>
      <p:sp>
        <p:nvSpPr>
          <p:cNvPr id="58371" name="Rectangle 3">
            <a:extLst>
              <a:ext uri="{FF2B5EF4-FFF2-40B4-BE49-F238E27FC236}">
                <a16:creationId xmlns:a16="http://schemas.microsoft.com/office/drawing/2014/main" id="{05141E6B-64F4-D420-40C8-3C471BC3354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0" y="0"/>
            <a:ext cx="4511407" cy="6858000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1: Open Eclipse and Create a New Java Project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pen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clipse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Go to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le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Java Projec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Name your project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ccountProjec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nd click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nish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4B12015-4CD9-4160-7E9E-67652791476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64483" b="6526"/>
          <a:stretch/>
        </p:blipFill>
        <p:spPr>
          <a:xfrm>
            <a:off x="4511407" y="0"/>
            <a:ext cx="463259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399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BF1835-8F49-1EAD-08D9-EA7BB7EDA5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3BC93EF1-FE97-8B01-CF95-B9DC145A99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6</a:t>
            </a:fld>
            <a:endParaRPr lang="en-US" altLang="en-US" sz="1400"/>
          </a:p>
        </p:txBody>
      </p:sp>
      <p:sp>
        <p:nvSpPr>
          <p:cNvPr id="58371" name="Rectangle 3">
            <a:extLst>
              <a:ext uri="{FF2B5EF4-FFF2-40B4-BE49-F238E27FC236}">
                <a16:creationId xmlns:a16="http://schemas.microsoft.com/office/drawing/2014/main" id="{C46D88E9-73FB-60B4-6135-B800AE5C85D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" y="0"/>
            <a:ext cx="3962400" cy="6858000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1: Open Eclipse and Create a New Java Project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pen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clipse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Go to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le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Java Projec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Name your project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ccountProject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nd click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inish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F6E352C-35F7-8333-4574-A81B059281B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2644" t="6322" r="22644" b="6322"/>
          <a:stretch/>
        </p:blipFill>
        <p:spPr>
          <a:xfrm>
            <a:off x="3962400" y="-1"/>
            <a:ext cx="5181600" cy="4653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8319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8A4CA2-8917-762E-8905-5B76DB5A99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569705B2-CBF0-FC55-DC4E-445572AD14A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7</a:t>
            </a:fld>
            <a:endParaRPr lang="en-US" altLang="en-US" sz="1400"/>
          </a:p>
        </p:txBody>
      </p:sp>
      <p:sp>
        <p:nvSpPr>
          <p:cNvPr id="58371" name="Rectangle 3">
            <a:extLst>
              <a:ext uri="{FF2B5EF4-FFF2-40B4-BE49-F238E27FC236}">
                <a16:creationId xmlns:a16="http://schemas.microsoft.com/office/drawing/2014/main" id="{0E4C9805-0F59-1781-0659-E03DAB7D6EB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0" y="0"/>
            <a:ext cx="4666593" cy="6858000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2: Create a New Java Class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Right-click on the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rc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folder inside your project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elect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las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Name the class Account and check the option to add the public static void main(String[]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rg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) method (optional for now, we will add it later)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66C9E56-52C5-06C7-F2DB-24F3BCA51C9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58966" b="6730"/>
          <a:stretch/>
        </p:blipFill>
        <p:spPr>
          <a:xfrm>
            <a:off x="4666593" y="-1"/>
            <a:ext cx="4477407" cy="5724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8164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E2D0AD-0668-0610-E5DA-42884AF84E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8415AE8D-DAEC-ECF8-039D-5C86D9528A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8</a:t>
            </a:fld>
            <a:endParaRPr lang="en-US" altLang="en-US" sz="1400"/>
          </a:p>
        </p:txBody>
      </p:sp>
      <p:sp>
        <p:nvSpPr>
          <p:cNvPr id="58371" name="Rectangle 3">
            <a:extLst>
              <a:ext uri="{FF2B5EF4-FFF2-40B4-BE49-F238E27FC236}">
                <a16:creationId xmlns:a16="http://schemas.microsoft.com/office/drawing/2014/main" id="{63270121-BF94-589D-F28B-AD2864360D0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0" y="0"/>
            <a:ext cx="4666593" cy="6858000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2: Create a New Java Class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Right-click on the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rc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folder inside your project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2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Select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w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&gt; </a:t>
            </a:r>
            <a:r>
              <a:rPr kumimoji="0" lang="en-US" altLang="en-US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las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 startAt="3"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Name the class Account and check the option to add the public static void main(String[] </a:t>
            </a:r>
            <a:r>
              <a:rPr kumimoji="0" lang="en-US" altLang="en-US" sz="2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rgs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) method (optional for now, we will add it later)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6D832DD-F833-2713-51C9-36952789E58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0531" t="3357" r="30909" b="28596"/>
          <a:stretch/>
        </p:blipFill>
        <p:spPr>
          <a:xfrm>
            <a:off x="4666593" y="-1"/>
            <a:ext cx="4477407" cy="4444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0342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E141DB-E221-B230-ADF9-756E4E1FB2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Number Placeholder 4">
            <a:extLst>
              <a:ext uri="{FF2B5EF4-FFF2-40B4-BE49-F238E27FC236}">
                <a16:creationId xmlns:a16="http://schemas.microsoft.com/office/drawing/2014/main" id="{BDBEDEE4-93C0-A716-C467-FA5234F80E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50A172C5-5FB2-7E47-9E77-C5AA1E315BE6}" type="slidenum">
              <a:rPr lang="en-US" altLang="en-US" sz="1400" smtClean="0"/>
              <a:pPr>
                <a:spcBef>
                  <a:spcPct val="0"/>
                </a:spcBef>
                <a:buClrTx/>
                <a:buSzTx/>
                <a:buFontTx/>
                <a:buNone/>
              </a:pPr>
              <a:t>9</a:t>
            </a:fld>
            <a:endParaRPr lang="en-US" altLang="en-US" sz="1400"/>
          </a:p>
        </p:txBody>
      </p:sp>
      <p:sp>
        <p:nvSpPr>
          <p:cNvPr id="58371" name="Rectangle 3">
            <a:extLst>
              <a:ext uri="{FF2B5EF4-FFF2-40B4-BE49-F238E27FC236}">
                <a16:creationId xmlns:a16="http://schemas.microsoft.com/office/drawing/2014/main" id="{7B78E12A-12EB-9627-A98E-55BABB04233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0" y="0"/>
            <a:ext cx="4666593" cy="6858000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tep 3: Write the Account Class</a:t>
            </a:r>
          </a:p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ere’s the complete code for the </a:t>
            </a:r>
            <a:r>
              <a:rPr kumimoji="0" lang="en-US" altLang="en-US" sz="2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ccount</a:t>
            </a:r>
            <a:r>
              <a:rPr kumimoji="0" lang="en-US" altLang="en-US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class.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5970A29-5DDE-D1E4-41CF-C4A2ECC057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0531" t="3357" r="30909" b="28596"/>
          <a:stretch/>
        </p:blipFill>
        <p:spPr>
          <a:xfrm>
            <a:off x="4666593" y="-1"/>
            <a:ext cx="4477407" cy="444438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D84BFF5-4DF2-ECB8-D5FE-86F98963FFEF}"/>
              </a:ext>
            </a:extLst>
          </p:cNvPr>
          <p:cNvSpPr txBox="1"/>
          <p:nvPr/>
        </p:nvSpPr>
        <p:spPr>
          <a:xfrm>
            <a:off x="0" y="4606187"/>
            <a:ext cx="9144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sz="2800" dirty="0">
                <a:latin typeface="Calibri" panose="020F0502020204030204" pitchFamily="34" charset="0"/>
                <a:cs typeface="Calibri" panose="020F0502020204030204" pitchFamily="34" charset="0"/>
              </a:rPr>
              <a:t>C:\Users\...\eclipse-workspace\AccountProject\src\account</a:t>
            </a:r>
          </a:p>
        </p:txBody>
      </p:sp>
    </p:spTree>
    <p:extLst>
      <p:ext uri="{BB962C8B-B14F-4D97-AF65-F5344CB8AC3E}">
        <p14:creationId xmlns:p14="http://schemas.microsoft.com/office/powerpoint/2010/main" val="32497223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U Presentation">
  <a:themeElements>
    <a:clrScheme name="ACUColourScheme">
      <a:dk1>
        <a:srgbClr val="3C1053"/>
      </a:dk1>
      <a:lt1>
        <a:srgbClr val="FFFFFF"/>
      </a:lt1>
      <a:dk2>
        <a:srgbClr val="3C1053"/>
      </a:dk2>
      <a:lt2>
        <a:srgbClr val="E8E3DB"/>
      </a:lt2>
      <a:accent1>
        <a:srgbClr val="F2120C"/>
      </a:accent1>
      <a:accent2>
        <a:srgbClr val="3D3935"/>
      </a:accent2>
      <a:accent3>
        <a:srgbClr val="8C857B"/>
      </a:accent3>
      <a:accent4>
        <a:srgbClr val="3C1053"/>
      </a:accent4>
      <a:accent5>
        <a:srgbClr val="E8E3DB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rgbClr val="3D3935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Template_4_3_V2.potx" id="{F3B38964-EE74-4E1D-A3FE-21D8EB788CBF}" vid="{2C9D612A-0DB5-43BD-9B9F-0A9FAAF24DC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dacb8815-fc1e-42c3-abc2-788c5fc4ff9d">Logos and templates</Category>
    <Sub_x002d_category xmlns="dacb8815-fc1e-42c3-abc2-788c5fc4ff9d">2017</Sub_x002d_category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5DEF6BD4BDD0B4D90C52999A51E08F1" ma:contentTypeVersion="0" ma:contentTypeDescription="Create a new document." ma:contentTypeScope="" ma:versionID="c1892927898350893ffcead8fbd6d37e">
  <xsd:schema xmlns:xsd="http://www.w3.org/2001/XMLSchema" xmlns:xs="http://www.w3.org/2001/XMLSchema" xmlns:p="http://schemas.microsoft.com/office/2006/metadata/properties" xmlns:ns2="dacb8815-fc1e-42c3-abc2-788c5fc4ff9d" targetNamespace="http://schemas.microsoft.com/office/2006/metadata/properties" ma:root="true" ma:fieldsID="0c0b49e5e91276836d7310696bcb027a" ns2:_="">
    <xsd:import namespace="dacb8815-fc1e-42c3-abc2-788c5fc4ff9d"/>
    <xsd:element name="properties">
      <xsd:complexType>
        <xsd:sequence>
          <xsd:element name="documentManagement">
            <xsd:complexType>
              <xsd:all>
                <xsd:element ref="ns2:Category"/>
                <xsd:element ref="ns2:Sub_x002d_categor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cb8815-fc1e-42c3-abc2-788c5fc4ff9d" elementFormDefault="qualified">
    <xsd:import namespace="http://schemas.microsoft.com/office/2006/documentManagement/types"/>
    <xsd:import namespace="http://schemas.microsoft.com/office/infopath/2007/PartnerControls"/>
    <xsd:element name="Category" ma:index="8" ma:displayName="Category" ma:default="Logos and templates" ma:format="Dropdown" ma:internalName="Category">
      <xsd:simpleType>
        <xsd:restriction base="dms:Choice">
          <xsd:enumeration value="Staff Leadership"/>
          <xsd:enumeration value="Logos and templates"/>
          <xsd:enumeration value="Prizes and Awards"/>
          <xsd:enumeration value="Peter Faber"/>
          <xsd:enumeration value="Accreditation"/>
          <xsd:enumeration value="Database of Community Engagement"/>
          <xsd:enumeration value="National School Meeting"/>
          <xsd:enumeration value="Marketing and Events"/>
          <xsd:enumeration value="Academic Performance Review &amp; Planning"/>
        </xsd:restriction>
      </xsd:simpleType>
    </xsd:element>
    <xsd:element name="Sub_x002d_category" ma:index="9" nillable="true" ma:displayName="Year" ma:default="2016" ma:format="Dropdown" ma:internalName="Sub_x002d_category">
      <xsd:simpleType>
        <xsd:restriction base="dms:Choice">
          <xsd:enumeration value="2015"/>
          <xsd:enumeration value="2016"/>
          <xsd:enumeration value="2017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19D6D79-91EF-4340-8C3D-E484566A2E2F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dacb8815-fc1e-42c3-abc2-788c5fc4ff9d"/>
    <ds:schemaRef ds:uri="http://purl.org/dc/elements/1.1/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5866CA7-3031-48D4-BC56-8127880CD39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0E1AAF5-FCF3-448E-ABDE-60F9267B980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acb8815-fc1e-42c3-abc2-788c5fc4ff9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_Template_4_3_V2.potx</Template>
  <TotalTime>3423</TotalTime>
  <Words>1205</Words>
  <Application>Microsoft Office PowerPoint</Application>
  <PresentationFormat>On-screen Show (4:3)</PresentationFormat>
  <Paragraphs>128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6" baseType="lpstr">
      <vt:lpstr>Arial</vt:lpstr>
      <vt:lpstr>Calibri</vt:lpstr>
      <vt:lpstr>Consolas</vt:lpstr>
      <vt:lpstr>ACU Presentation</vt:lpstr>
      <vt:lpstr>think-cell Slide</vt:lpstr>
      <vt:lpstr>PowerPoint Presentation</vt:lpstr>
      <vt:lpstr>PowerPoint Presentation</vt:lpstr>
      <vt:lpstr>Task completion (3%)</vt:lpstr>
      <vt:lpstr>Task completion (3%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U Presentation</dc:title>
  <dc:creator>Husnen Rupani;Simone.Byrnes@acu.edu.au</dc:creator>
  <cp:lastModifiedBy>Farshid Keivanian</cp:lastModifiedBy>
  <cp:revision>761</cp:revision>
  <cp:lastPrinted>2017-08-03T04:07:41Z</cp:lastPrinted>
  <dcterms:created xsi:type="dcterms:W3CDTF">2017-05-11T09:33:32Z</dcterms:created>
  <dcterms:modified xsi:type="dcterms:W3CDTF">2024-10-10T19:34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5DEF6BD4BDD0B4D90C52999A51E08F1</vt:lpwstr>
  </property>
</Properties>
</file>